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omments/modernComment_2E2_C97B9427.xml" ContentType="application/vnd.ms-powerpoint.comment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3.xml" ContentType="application/vnd.openxmlformats-officedocument.presentationml.tags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3.xml" ContentType="application/vnd.openxmlformats-officedocument.drawingml.chart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1"/>
  </p:notesMasterIdLst>
  <p:handoutMasterIdLst>
    <p:handoutMasterId r:id="rId42"/>
  </p:handoutMasterIdLst>
  <p:sldIdLst>
    <p:sldId id="4613" r:id="rId2"/>
    <p:sldId id="280" r:id="rId3"/>
    <p:sldId id="358" r:id="rId4"/>
    <p:sldId id="617" r:id="rId5"/>
    <p:sldId id="4612" r:id="rId6"/>
    <p:sldId id="382" r:id="rId7"/>
    <p:sldId id="4611" r:id="rId8"/>
    <p:sldId id="334" r:id="rId9"/>
    <p:sldId id="342" r:id="rId10"/>
    <p:sldId id="343" r:id="rId11"/>
    <p:sldId id="345" r:id="rId12"/>
    <p:sldId id="738" r:id="rId13"/>
    <p:sldId id="4594" r:id="rId14"/>
    <p:sldId id="377" r:id="rId15"/>
    <p:sldId id="740" r:id="rId16"/>
    <p:sldId id="389" r:id="rId17"/>
    <p:sldId id="429" r:id="rId18"/>
    <p:sldId id="392" r:id="rId19"/>
    <p:sldId id="393" r:id="rId20"/>
    <p:sldId id="394" r:id="rId21"/>
    <p:sldId id="395" r:id="rId22"/>
    <p:sldId id="396" r:id="rId23"/>
    <p:sldId id="398" r:id="rId24"/>
    <p:sldId id="397" r:id="rId25"/>
    <p:sldId id="430" r:id="rId26"/>
    <p:sldId id="418" r:id="rId27"/>
    <p:sldId id="336" r:id="rId28"/>
    <p:sldId id="4607" r:id="rId29"/>
    <p:sldId id="259" r:id="rId30"/>
    <p:sldId id="262" r:id="rId31"/>
    <p:sldId id="264" r:id="rId32"/>
    <p:sldId id="263" r:id="rId33"/>
    <p:sldId id="267" r:id="rId34"/>
    <p:sldId id="4480" r:id="rId35"/>
    <p:sldId id="281" r:id="rId36"/>
    <p:sldId id="4601" r:id="rId37"/>
    <p:sldId id="4608" r:id="rId38"/>
    <p:sldId id="4610" r:id="rId39"/>
    <p:sldId id="258" r:id="rId40"/>
  </p:sldIdLst>
  <p:sldSz cx="12192000" cy="6858000"/>
  <p:notesSz cx="7010400" cy="9296400"/>
  <p:custDataLst>
    <p:tags r:id="rId4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EE93104-3F49-9646-2150-08B7B7D52D9C}" name="Denayer Christophe" initials="DC" userId="S::cdenayer@carmeuse.net::9b5ca946-2a25-48e2-80a5-d11f3bd8563b" providerId="AD"/>
  <p188:author id="{119B1E66-540D-2A66-C13C-5ACF85C2FD97}" name="Lennerts Frédéric" initials="LF" userId="S::flennerts@carmeuse.net::355d744f-5dd3-4a7d-a6fe-54f9ded7f1c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596"/>
    <a:srgbClr val="074D67"/>
    <a:srgbClr val="FCB414"/>
    <a:srgbClr val="CB1B4A"/>
    <a:srgbClr val="42AFB6"/>
    <a:srgbClr val="C2C923"/>
    <a:srgbClr val="007A7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97104A-9DAF-45EB-A9D7-10A366570993}" v="331" dt="2022-12-05T11:03:11.537"/>
    <p1510:client id="{3DA417DB-039D-5F6E-250E-E48CD3270DF2}" v="75" dt="2022-12-05T09:07:34.87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6395" autoAdjust="0"/>
  </p:normalViewPr>
  <p:slideViewPr>
    <p:cSldViewPr snapToGrid="0">
      <p:cViewPr varScale="1">
        <p:scale>
          <a:sx n="112" d="100"/>
          <a:sy n="112" d="100"/>
        </p:scale>
        <p:origin x="552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396" y="11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gs" Target="tags/tag1.xml"/><Relationship Id="rId48" Type="http://schemas.microsoft.com/office/2015/10/relationships/revisionInfo" Target="revisionInfo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haas\Documents\ESMGE\Diagramm%20Reaktionsverteilung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150793030409662E-2"/>
          <c:y val="1.7818564333997165E-2"/>
          <c:w val="0.91693635660145512"/>
          <c:h val="0.85211260512405429"/>
        </c:manualLayout>
      </c:layout>
      <c:areaChart>
        <c:grouping val="stacked"/>
        <c:varyColors val="0"/>
        <c:ser>
          <c:idx val="0"/>
          <c:order val="0"/>
          <c:tx>
            <c:strRef>
              <c:f>Sheet1!$A$4</c:f>
              <c:strCache>
                <c:ptCount val="1"/>
                <c:pt idx="0">
                  <c:v>Suppl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B$3:$BS$3</c:f>
              <c:numCache>
                <c:formatCode>General</c:formatCode>
                <c:ptCount val="70"/>
                <c:pt idx="0">
                  <c:v>1961</c:v>
                </c:pt>
                <c:pt idx="1">
                  <c:v>1962</c:v>
                </c:pt>
                <c:pt idx="2">
                  <c:v>1963</c:v>
                </c:pt>
                <c:pt idx="3">
                  <c:v>1964</c:v>
                </c:pt>
                <c:pt idx="4">
                  <c:v>1965</c:v>
                </c:pt>
                <c:pt idx="5">
                  <c:v>1966</c:v>
                </c:pt>
                <c:pt idx="6">
                  <c:v>1967</c:v>
                </c:pt>
                <c:pt idx="7">
                  <c:v>1968</c:v>
                </c:pt>
                <c:pt idx="8">
                  <c:v>1969</c:v>
                </c:pt>
                <c:pt idx="9">
                  <c:v>1970</c:v>
                </c:pt>
                <c:pt idx="10">
                  <c:v>1971</c:v>
                </c:pt>
                <c:pt idx="11">
                  <c:v>1972</c:v>
                </c:pt>
                <c:pt idx="12">
                  <c:v>1973</c:v>
                </c:pt>
                <c:pt idx="13">
                  <c:v>1974</c:v>
                </c:pt>
                <c:pt idx="14">
                  <c:v>1975</c:v>
                </c:pt>
                <c:pt idx="15">
                  <c:v>1976</c:v>
                </c:pt>
                <c:pt idx="16">
                  <c:v>1977</c:v>
                </c:pt>
                <c:pt idx="17">
                  <c:v>1978</c:v>
                </c:pt>
                <c:pt idx="18">
                  <c:v>1979</c:v>
                </c:pt>
                <c:pt idx="19">
                  <c:v>1980</c:v>
                </c:pt>
                <c:pt idx="20">
                  <c:v>1981</c:v>
                </c:pt>
                <c:pt idx="21">
                  <c:v>1982</c:v>
                </c:pt>
                <c:pt idx="22">
                  <c:v>1983</c:v>
                </c:pt>
                <c:pt idx="23">
                  <c:v>1984</c:v>
                </c:pt>
                <c:pt idx="24">
                  <c:v>1985</c:v>
                </c:pt>
                <c:pt idx="25">
                  <c:v>1986</c:v>
                </c:pt>
                <c:pt idx="26">
                  <c:v>1987</c:v>
                </c:pt>
                <c:pt idx="27">
                  <c:v>1988</c:v>
                </c:pt>
                <c:pt idx="28">
                  <c:v>1989</c:v>
                </c:pt>
                <c:pt idx="29">
                  <c:v>1990</c:v>
                </c:pt>
                <c:pt idx="30">
                  <c:v>1991</c:v>
                </c:pt>
                <c:pt idx="31">
                  <c:v>1992</c:v>
                </c:pt>
                <c:pt idx="32">
                  <c:v>1993</c:v>
                </c:pt>
                <c:pt idx="33">
                  <c:v>1994</c:v>
                </c:pt>
                <c:pt idx="34">
                  <c:v>1995</c:v>
                </c:pt>
                <c:pt idx="35">
                  <c:v>1996</c:v>
                </c:pt>
                <c:pt idx="36">
                  <c:v>1997</c:v>
                </c:pt>
                <c:pt idx="37">
                  <c:v>1998</c:v>
                </c:pt>
                <c:pt idx="38">
                  <c:v>1999</c:v>
                </c:pt>
                <c:pt idx="39">
                  <c:v>2000</c:v>
                </c:pt>
                <c:pt idx="40">
                  <c:v>2001</c:v>
                </c:pt>
                <c:pt idx="41">
                  <c:v>2002</c:v>
                </c:pt>
                <c:pt idx="42">
                  <c:v>2003</c:v>
                </c:pt>
                <c:pt idx="43">
                  <c:v>2004</c:v>
                </c:pt>
                <c:pt idx="44">
                  <c:v>2005</c:v>
                </c:pt>
                <c:pt idx="45">
                  <c:v>2006</c:v>
                </c:pt>
                <c:pt idx="46">
                  <c:v>2007</c:v>
                </c:pt>
                <c:pt idx="47">
                  <c:v>2008</c:v>
                </c:pt>
                <c:pt idx="48">
                  <c:v>2009</c:v>
                </c:pt>
                <c:pt idx="49">
                  <c:v>2010</c:v>
                </c:pt>
                <c:pt idx="50">
                  <c:v>2011</c:v>
                </c:pt>
                <c:pt idx="51">
                  <c:v>2012</c:v>
                </c:pt>
                <c:pt idx="52">
                  <c:v>2013</c:v>
                </c:pt>
                <c:pt idx="53">
                  <c:v>2014</c:v>
                </c:pt>
                <c:pt idx="54">
                  <c:v>2015</c:v>
                </c:pt>
                <c:pt idx="55">
                  <c:v>2016</c:v>
                </c:pt>
                <c:pt idx="56">
                  <c:v>2017</c:v>
                </c:pt>
                <c:pt idx="57">
                  <c:v>2018</c:v>
                </c:pt>
                <c:pt idx="58">
                  <c:v>2019</c:v>
                </c:pt>
                <c:pt idx="59">
                  <c:v>2020</c:v>
                </c:pt>
                <c:pt idx="60">
                  <c:v>2021</c:v>
                </c:pt>
                <c:pt idx="61">
                  <c:v>2022</c:v>
                </c:pt>
                <c:pt idx="62">
                  <c:v>2023</c:v>
                </c:pt>
                <c:pt idx="63">
                  <c:v>2024</c:v>
                </c:pt>
                <c:pt idx="64">
                  <c:v>2025</c:v>
                </c:pt>
                <c:pt idx="65">
                  <c:v>2026</c:v>
                </c:pt>
                <c:pt idx="66">
                  <c:v>2027</c:v>
                </c:pt>
                <c:pt idx="67">
                  <c:v>2028</c:v>
                </c:pt>
                <c:pt idx="68">
                  <c:v>2029</c:v>
                </c:pt>
                <c:pt idx="69">
                  <c:v>2030</c:v>
                </c:pt>
              </c:numCache>
            </c:numRef>
          </c:cat>
          <c:val>
            <c:numRef>
              <c:f>Sheet1!$B$4:$BS$4</c:f>
              <c:numCache>
                <c:formatCode>General</c:formatCode>
                <c:ptCount val="70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0</c:v>
                </c:pt>
                <c:pt idx="36">
                  <c:v>30</c:v>
                </c:pt>
                <c:pt idx="37">
                  <c:v>30</c:v>
                </c:pt>
                <c:pt idx="38">
                  <c:v>30</c:v>
                </c:pt>
                <c:pt idx="39">
                  <c:v>30</c:v>
                </c:pt>
                <c:pt idx="40">
                  <c:v>30</c:v>
                </c:pt>
                <c:pt idx="41">
                  <c:v>30</c:v>
                </c:pt>
                <c:pt idx="42">
                  <c:v>30</c:v>
                </c:pt>
                <c:pt idx="43">
                  <c:v>30</c:v>
                </c:pt>
                <c:pt idx="44">
                  <c:v>30</c:v>
                </c:pt>
                <c:pt idx="45">
                  <c:v>30</c:v>
                </c:pt>
                <c:pt idx="58">
                  <c:v>150</c:v>
                </c:pt>
                <c:pt idx="59">
                  <c:v>150</c:v>
                </c:pt>
                <c:pt idx="63">
                  <c:v>200</c:v>
                </c:pt>
                <c:pt idx="64">
                  <c:v>200</c:v>
                </c:pt>
                <c:pt idx="65">
                  <c:v>200</c:v>
                </c:pt>
                <c:pt idx="6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FA-4F5B-BA37-0A127A2E9C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56827071"/>
        <c:axId val="1656832479"/>
      </c:areaChart>
      <c:catAx>
        <c:axId val="165682707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656832479"/>
        <c:crosses val="autoZero"/>
        <c:auto val="1"/>
        <c:lblAlgn val="ctr"/>
        <c:lblOffset val="100"/>
        <c:noMultiLvlLbl val="0"/>
      </c:catAx>
      <c:valAx>
        <c:axId val="1656832479"/>
        <c:scaling>
          <c:orientation val="minMax"/>
          <c:max val="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656827071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3.1944444444444442E-2"/>
          <c:y val="4.6272236803732859E-2"/>
          <c:w val="0.96805553595547511"/>
          <c:h val="0.91647421074632818"/>
        </c:manualLayout>
      </c:layout>
      <c:pie3DChart>
        <c:varyColors val="1"/>
        <c:ser>
          <c:idx val="0"/>
          <c:order val="0"/>
          <c:spPr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  <a:contourClr>
                <a:srgbClr val="000000"/>
              </a:contourClr>
            </a:sp3d>
          </c:spPr>
          <c:explosion val="25"/>
          <c:dPt>
            <c:idx val="0"/>
            <c:bubble3D val="0"/>
            <c:spPr>
              <a:solidFill>
                <a:srgbClr val="00FFFF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EE24-48FF-ABBD-DFC48304630C}"/>
              </c:ext>
            </c:extLst>
          </c:dPt>
          <c:dPt>
            <c:idx val="1"/>
            <c:bubble3D val="0"/>
            <c:spPr>
              <a:solidFill>
                <a:srgbClr val="FFFF00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EE24-48FF-ABBD-DFC48304630C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EE24-48FF-ABBD-DFC48304630C}"/>
              </c:ext>
            </c:extLst>
          </c:dPt>
          <c:dLbls>
            <c:dLbl>
              <c:idx val="0"/>
              <c:layout>
                <c:manualLayout>
                  <c:x val="-0.10596619115101132"/>
                  <c:y val="6.33829782218948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E24-48FF-ABBD-DFC48304630C}"/>
                </c:ext>
              </c:extLst>
            </c:dLbl>
            <c:dLbl>
              <c:idx val="1"/>
              <c:layout>
                <c:manualLayout>
                  <c:x val="-0.2427121463393094"/>
                  <c:y val="-0.3380130467556044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E24-48FF-ABBD-DFC48304630C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>
                    <a:latin typeface="Calibri" panose="020F0502020204030204" pitchFamily="34" charset="0"/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1:$A$3</c:f>
              <c:strCache>
                <c:ptCount val="3"/>
                <c:pt idx="0">
                  <c:v>Available lime</c:v>
                </c:pt>
                <c:pt idx="1">
                  <c:v>Puzzolanic reaction</c:v>
                </c:pt>
                <c:pt idx="2">
                  <c:v>Carbonation</c:v>
                </c:pt>
              </c:strCache>
            </c:strRef>
          </c:cat>
          <c:val>
            <c:numRef>
              <c:f>Tabelle1!$B$1:$B$3</c:f>
              <c:numCache>
                <c:formatCode>General</c:formatCode>
                <c:ptCount val="3"/>
                <c:pt idx="0">
                  <c:v>0.14000000000000001</c:v>
                </c:pt>
                <c:pt idx="1">
                  <c:v>0.46</c:v>
                </c:pt>
                <c:pt idx="2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E24-48FF-ABBD-DFC4830463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scene3d>
          <a:camera prst="orthographicFront"/>
          <a:lightRig rig="threePt" dir="t"/>
        </a:scene3d>
        <a:sp3d/>
      </c:spPr>
    </c:plotArea>
    <c:plotVisOnly val="1"/>
    <c:dispBlanksAs val="gap"/>
    <c:showDLblsOverMax val="0"/>
  </c:chart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870646766169153E-2"/>
          <c:y val="7.6122931442080377E-2"/>
          <c:w val="0.94825870646766164"/>
          <c:h val="0.8510638297872340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27C22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902-4B96-A09A-3AB3A14F11F4}"/>
              </c:ext>
            </c:extLst>
          </c:dPt>
          <c:dLbls>
            <c:dLbl>
              <c:idx val="0"/>
              <c:layout>
                <c:manualLayout>
                  <c:x val="0"/>
                  <c:y val="-0.3489361702127659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k-S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902-4B96-A09A-3AB3A14F11F4}"/>
                </c:ext>
              </c:extLst>
            </c:dLbl>
            <c:dLbl>
              <c:idx val="1"/>
              <c:layout>
                <c:manualLayout>
                  <c:x val="0"/>
                  <c:y val="-0.2193853427895981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k-S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902-4B96-A09A-3AB3A14F11F4}"/>
                </c:ext>
              </c:extLst>
            </c:dLbl>
            <c:dLbl>
              <c:idx val="2"/>
              <c:layout>
                <c:manualLayout>
                  <c:x val="0"/>
                  <c:y val="-0.1489361702127659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k-S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902-4B96-A09A-3AB3A14F11F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856</c:v>
                </c:pt>
                <c:pt idx="1">
                  <c:v>500</c:v>
                </c:pt>
                <c:pt idx="2">
                  <c:v>-3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902-4B96-A09A-3AB3A14F11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58977536"/>
        <c:axId val="1"/>
      </c:barChart>
      <c:catAx>
        <c:axId val="20589775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856"/>
          <c:min val="-314"/>
        </c:scaling>
        <c:delete val="1"/>
        <c:axPos val="l"/>
        <c:numFmt formatCode="General" sourceLinked="1"/>
        <c:majorTickMark val="out"/>
        <c:minorTickMark val="none"/>
        <c:tickLblPos val="nextTo"/>
        <c:crossAx val="20589775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2E2_C97B942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DEB9E72-CF97-4952-BD46-B55C97F3AAD8}" authorId="{119B1E66-540D-2A66-C13C-5ACF85C2FD97}" status="resolved" created="2022-09-09T15:19:16.725" complete="100000">
    <pc:sldMkLst xmlns:pc="http://schemas.microsoft.com/office/powerpoint/2013/main/command">
      <pc:docMk/>
      <pc:sldMk cId="3380319271" sldId="736"/>
    </pc:sldMkLst>
    <p188:replyLst>
      <p188:reply id="{C2603D4F-ECC8-4DAD-AABB-51F38CA8E61F}" authorId="{7EE93104-3F49-9646-2150-08B7B7D52D9C}" created="2022-09-11T10:25:37.518">
        <p188:txBody>
          <a:bodyPr/>
          <a:lstStyle/>
          <a:p>
            <a:r>
              <a:rPr lang="en-US"/>
              <a:t>Highways FR started in 1960, and in BE in 1970</a:t>
            </a:r>
          </a:p>
        </p188:txBody>
      </p188:reply>
    </p188:replyLst>
    <p188:txBody>
      <a:bodyPr/>
      <a:lstStyle/>
      <a:p>
        <a:r>
          <a:rPr lang="en-US"/>
          <a:t>[@Denayer Christophe] we have simplified it a lot as the main message here is to show our products are used in more and bigger earthworks</a:t>
        </a:r>
      </a:p>
    </p188:txBody>
  </p188:cm>
</p188:cmLst>
</file>

<file path=ppt/diagrams/_rels/data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image" Target="../media/image30.jpg"/></Relationships>
</file>

<file path=ppt/diagrams/_rels/drawing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image" Target="../media/image30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A427965-6144-4AD1-A093-262C5C93FCA6}" type="doc">
      <dgm:prSet loTypeId="urn:microsoft.com/office/officeart/2008/layout/BendingPictureCaption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k-SK"/>
        </a:p>
      </dgm:t>
    </dgm:pt>
    <dgm:pt modelId="{4794E7BF-1209-4E0E-A948-9AE74D1D51AD}">
      <dgm:prSet/>
      <dgm:spPr/>
      <dgm:t>
        <a:bodyPr/>
        <a:lstStyle/>
        <a:p>
          <a:pPr algn="l">
            <a:buNone/>
          </a:pPr>
          <a:endParaRPr lang="sk-SK" dirty="0"/>
        </a:p>
      </dgm:t>
    </dgm:pt>
    <dgm:pt modelId="{B3B28BF8-AB8A-49D5-A81A-777B4D61C344}" type="parTrans" cxnId="{25A2BF11-D125-4619-AAA3-F180307AB106}">
      <dgm:prSet/>
      <dgm:spPr/>
      <dgm:t>
        <a:bodyPr/>
        <a:lstStyle/>
        <a:p>
          <a:endParaRPr lang="sk-SK"/>
        </a:p>
      </dgm:t>
    </dgm:pt>
    <dgm:pt modelId="{344B009C-503C-4AD6-94EC-D4B52D20D785}" type="sibTrans" cxnId="{25A2BF11-D125-4619-AAA3-F180307AB106}">
      <dgm:prSet/>
      <dgm:spPr/>
      <dgm:t>
        <a:bodyPr/>
        <a:lstStyle/>
        <a:p>
          <a:endParaRPr lang="sk-SK"/>
        </a:p>
      </dgm:t>
    </dgm:pt>
    <dgm:pt modelId="{058710A1-9E0A-469E-8F6D-47DB81F11F0E}">
      <dgm:prSet/>
      <dgm:spPr/>
      <dgm:t>
        <a:bodyPr/>
        <a:lstStyle/>
        <a:p>
          <a:pPr algn="ctr">
            <a:buFont typeface="Arial" panose="020B0604020202020204" pitchFamily="34" charset="0"/>
            <a:buNone/>
          </a:pPr>
          <a:r>
            <a:rPr lang="en-GB" dirty="0"/>
            <a:t>“Poor rated”</a:t>
          </a:r>
          <a:r>
            <a:rPr lang="en-US" dirty="0"/>
            <a:t>​</a:t>
          </a:r>
          <a:endParaRPr lang="sk-SK" dirty="0"/>
        </a:p>
      </dgm:t>
    </dgm:pt>
    <dgm:pt modelId="{45D73427-0AE0-42B1-9625-467D6DA26086}" type="parTrans" cxnId="{440687A0-63BC-4AD9-8CC7-C6ACE26AC88E}">
      <dgm:prSet/>
      <dgm:spPr/>
      <dgm:t>
        <a:bodyPr/>
        <a:lstStyle/>
        <a:p>
          <a:endParaRPr lang="sk-SK"/>
        </a:p>
      </dgm:t>
    </dgm:pt>
    <dgm:pt modelId="{4621B39F-FAA1-4231-B205-56FFEEC33F33}" type="sibTrans" cxnId="{440687A0-63BC-4AD9-8CC7-C6ACE26AC88E}">
      <dgm:prSet/>
      <dgm:spPr/>
      <dgm:t>
        <a:bodyPr/>
        <a:lstStyle/>
        <a:p>
          <a:endParaRPr lang="sk-SK"/>
        </a:p>
      </dgm:t>
    </dgm:pt>
    <dgm:pt modelId="{70DD450F-FC6E-4BCB-8BBB-36D575E509A1}">
      <dgm:prSet/>
      <dgm:spPr/>
      <dgm:t>
        <a:bodyPr/>
        <a:lstStyle/>
        <a:p>
          <a:pPr algn="ctr">
            <a:buFont typeface="Arial" panose="020B0604020202020204" pitchFamily="34" charset="0"/>
            <a:buNone/>
          </a:pPr>
          <a:r>
            <a:rPr lang="en-GB" dirty="0"/>
            <a:t>Difficult for geo-engineers</a:t>
          </a:r>
          <a:endParaRPr lang="sk-SK" dirty="0"/>
        </a:p>
      </dgm:t>
    </dgm:pt>
    <dgm:pt modelId="{32C1A5B0-E225-4703-80A9-D0B254E9739C}" type="parTrans" cxnId="{AEDE100F-1668-4A84-AF79-0C171F20184D}">
      <dgm:prSet/>
      <dgm:spPr/>
      <dgm:t>
        <a:bodyPr/>
        <a:lstStyle/>
        <a:p>
          <a:endParaRPr lang="sk-SK"/>
        </a:p>
      </dgm:t>
    </dgm:pt>
    <dgm:pt modelId="{A171D844-FC29-47FB-A9E0-9C1127516B49}" type="sibTrans" cxnId="{AEDE100F-1668-4A84-AF79-0C171F20184D}">
      <dgm:prSet/>
      <dgm:spPr/>
      <dgm:t>
        <a:bodyPr/>
        <a:lstStyle/>
        <a:p>
          <a:endParaRPr lang="sk-SK"/>
        </a:p>
      </dgm:t>
    </dgm:pt>
    <dgm:pt modelId="{1098FF67-2B22-4587-AFE3-F905936D663A}">
      <dgm:prSet/>
      <dgm:spPr/>
      <dgm:t>
        <a:bodyPr/>
        <a:lstStyle/>
        <a:p>
          <a:pPr algn="l">
            <a:buNone/>
          </a:pPr>
          <a:endParaRPr lang="sk-SK" dirty="0"/>
        </a:p>
      </dgm:t>
    </dgm:pt>
    <dgm:pt modelId="{F3AA3379-FAB5-40A3-815B-D7B8835F374D}" type="parTrans" cxnId="{0B8235DD-66C0-4935-B137-C45E146B2A93}">
      <dgm:prSet/>
      <dgm:spPr/>
      <dgm:t>
        <a:bodyPr/>
        <a:lstStyle/>
        <a:p>
          <a:endParaRPr lang="sk-SK"/>
        </a:p>
      </dgm:t>
    </dgm:pt>
    <dgm:pt modelId="{89CD97FA-50FB-432E-A09D-CB621AC4E8F7}" type="sibTrans" cxnId="{0B8235DD-66C0-4935-B137-C45E146B2A93}">
      <dgm:prSet/>
      <dgm:spPr/>
      <dgm:t>
        <a:bodyPr/>
        <a:lstStyle/>
        <a:p>
          <a:endParaRPr lang="sk-SK"/>
        </a:p>
      </dgm:t>
    </dgm:pt>
    <dgm:pt modelId="{07358D1F-943D-4659-842E-78D810724F10}">
      <dgm:prSet/>
      <dgm:spPr/>
      <dgm:t>
        <a:bodyPr/>
        <a:lstStyle/>
        <a:p>
          <a:pPr algn="ctr">
            <a:buNone/>
          </a:pPr>
          <a:r>
            <a:rPr lang="en-GB" dirty="0"/>
            <a:t>Soil Treated Layers</a:t>
          </a:r>
          <a:endParaRPr lang="sk-SK" dirty="0"/>
        </a:p>
      </dgm:t>
    </dgm:pt>
    <dgm:pt modelId="{FF5144A0-F320-45AA-B340-704DDA738F6A}" type="parTrans" cxnId="{6B672A90-0D07-405B-A8B7-470C36F504BF}">
      <dgm:prSet/>
      <dgm:spPr/>
      <dgm:t>
        <a:bodyPr/>
        <a:lstStyle/>
        <a:p>
          <a:endParaRPr lang="sk-SK"/>
        </a:p>
      </dgm:t>
    </dgm:pt>
    <dgm:pt modelId="{4B900A5C-BC1B-4F7C-9579-27032E9D129A}" type="sibTrans" cxnId="{6B672A90-0D07-405B-A8B7-470C36F504BF}">
      <dgm:prSet/>
      <dgm:spPr/>
      <dgm:t>
        <a:bodyPr/>
        <a:lstStyle/>
        <a:p>
          <a:endParaRPr lang="sk-SK"/>
        </a:p>
      </dgm:t>
    </dgm:pt>
    <dgm:pt modelId="{77AF1298-C81E-4057-9A0D-9F9F29922AFB}">
      <dgm:prSet/>
      <dgm:spPr/>
      <dgm:t>
        <a:bodyPr/>
        <a:lstStyle/>
        <a:p>
          <a:pPr algn="ctr">
            <a:buNone/>
          </a:pPr>
          <a:r>
            <a:rPr lang="en-GB" dirty="0"/>
            <a:t>For capping layers, subgrade &amp; fills</a:t>
          </a:r>
          <a:endParaRPr lang="sk-SK" dirty="0"/>
        </a:p>
      </dgm:t>
    </dgm:pt>
    <dgm:pt modelId="{18721E91-F282-498D-8A4E-238C1FFE3728}" type="parTrans" cxnId="{B4A84853-8DE6-48F9-BAD0-78AF20B39456}">
      <dgm:prSet/>
      <dgm:spPr/>
      <dgm:t>
        <a:bodyPr/>
        <a:lstStyle/>
        <a:p>
          <a:endParaRPr lang="sk-SK"/>
        </a:p>
      </dgm:t>
    </dgm:pt>
    <dgm:pt modelId="{6116285F-DBBF-4706-9547-71839C26166F}" type="sibTrans" cxnId="{B4A84853-8DE6-48F9-BAD0-78AF20B39456}">
      <dgm:prSet/>
      <dgm:spPr/>
      <dgm:t>
        <a:bodyPr/>
        <a:lstStyle/>
        <a:p>
          <a:endParaRPr lang="sk-SK"/>
        </a:p>
      </dgm:t>
    </dgm:pt>
    <dgm:pt modelId="{53ACC346-B8E5-4832-BE08-547DC2C15631}">
      <dgm:prSet/>
      <dgm:spPr/>
      <dgm:t>
        <a:bodyPr/>
        <a:lstStyle/>
        <a:p>
          <a:pPr algn="ctr">
            <a:buFont typeface="Arial" panose="020B0604020202020204" pitchFamily="34" charset="0"/>
            <a:buNone/>
          </a:pPr>
          <a:r>
            <a:rPr lang="en-GB" dirty="0"/>
            <a:t>Marginal soils</a:t>
          </a:r>
          <a:r>
            <a:rPr lang="en-US" dirty="0"/>
            <a:t>​</a:t>
          </a:r>
          <a:endParaRPr lang="sk-SK" dirty="0"/>
        </a:p>
      </dgm:t>
    </dgm:pt>
    <dgm:pt modelId="{477B4D23-9E47-4167-87A8-09893EBBAC96}" type="sibTrans" cxnId="{6DE68D14-1C64-4B19-AAAB-336E0AA9987A}">
      <dgm:prSet/>
      <dgm:spPr/>
      <dgm:t>
        <a:bodyPr/>
        <a:lstStyle/>
        <a:p>
          <a:endParaRPr lang="sk-SK"/>
        </a:p>
      </dgm:t>
    </dgm:pt>
    <dgm:pt modelId="{BE581FC8-15B8-4284-853D-7C7FF911FD1C}" type="parTrans" cxnId="{6DE68D14-1C64-4B19-AAAB-336E0AA9987A}">
      <dgm:prSet/>
      <dgm:spPr/>
      <dgm:t>
        <a:bodyPr/>
        <a:lstStyle/>
        <a:p>
          <a:endParaRPr lang="sk-SK"/>
        </a:p>
      </dgm:t>
    </dgm:pt>
    <dgm:pt modelId="{4CA8E85B-6F33-471B-ADB2-6B57BA0D646F}" type="pres">
      <dgm:prSet presAssocID="{2A427965-6144-4AD1-A093-262C5C93FCA6}" presName="Name0" presStyleCnt="0">
        <dgm:presLayoutVars>
          <dgm:dir/>
          <dgm:resizeHandles val="exact"/>
        </dgm:presLayoutVars>
      </dgm:prSet>
      <dgm:spPr/>
    </dgm:pt>
    <dgm:pt modelId="{D0E1C8A3-020B-459F-BA89-541D57F29B0A}" type="pres">
      <dgm:prSet presAssocID="{4794E7BF-1209-4E0E-A948-9AE74D1D51AD}" presName="composite" presStyleCnt="0"/>
      <dgm:spPr/>
    </dgm:pt>
    <dgm:pt modelId="{A0BB372B-1636-43C4-AAB7-1AE1D9A60511}" type="pres">
      <dgm:prSet presAssocID="{4794E7BF-1209-4E0E-A948-9AE74D1D51AD}" presName="rect1" presStyleLbl="bgImgPlac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" r="-4000"/>
          </a:stretch>
        </a:blipFill>
      </dgm:spPr>
    </dgm:pt>
    <dgm:pt modelId="{7BEB5851-0A46-4030-A23C-5EBBCCB02542}" type="pres">
      <dgm:prSet presAssocID="{4794E7BF-1209-4E0E-A948-9AE74D1D51AD}" presName="wedgeRectCallout1" presStyleLbl="node1" presStyleIdx="0" presStyleCnt="2">
        <dgm:presLayoutVars>
          <dgm:bulletEnabled val="1"/>
        </dgm:presLayoutVars>
      </dgm:prSet>
      <dgm:spPr/>
    </dgm:pt>
    <dgm:pt modelId="{33755BD8-6AEE-4295-B4DC-D762226663EC}" type="pres">
      <dgm:prSet presAssocID="{344B009C-503C-4AD6-94EC-D4B52D20D785}" presName="sibTrans" presStyleCnt="0"/>
      <dgm:spPr/>
    </dgm:pt>
    <dgm:pt modelId="{84C4A99B-3CBB-426E-97D2-EF78D032527A}" type="pres">
      <dgm:prSet presAssocID="{1098FF67-2B22-4587-AFE3-F905936D663A}" presName="composite" presStyleCnt="0"/>
      <dgm:spPr/>
    </dgm:pt>
    <dgm:pt modelId="{09B8D384-01B8-45B0-A933-AF23A3B75B3D}" type="pres">
      <dgm:prSet presAssocID="{1098FF67-2B22-4587-AFE3-F905936D663A}" presName="rect1" presStyleLbl="bgImgPlace1" presStyleIdx="1" presStyleCnt="2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" r="-4000"/>
          </a:stretch>
        </a:blipFill>
      </dgm:spPr>
    </dgm:pt>
    <dgm:pt modelId="{5BB54920-4B7F-4733-BFDD-6BF68CDFDCDD}" type="pres">
      <dgm:prSet presAssocID="{1098FF67-2B22-4587-AFE3-F905936D663A}" presName="wedgeRectCallout1" presStyleLbl="node1" presStyleIdx="1" presStyleCnt="2">
        <dgm:presLayoutVars>
          <dgm:bulletEnabled val="1"/>
        </dgm:presLayoutVars>
      </dgm:prSet>
      <dgm:spPr/>
    </dgm:pt>
  </dgm:ptLst>
  <dgm:cxnLst>
    <dgm:cxn modelId="{AEDE100F-1668-4A84-AF79-0C171F20184D}" srcId="{4794E7BF-1209-4E0E-A948-9AE74D1D51AD}" destId="{70DD450F-FC6E-4BCB-8BBB-36D575E509A1}" srcOrd="2" destOrd="0" parTransId="{32C1A5B0-E225-4703-80A9-D0B254E9739C}" sibTransId="{A171D844-FC29-47FB-A9E0-9C1127516B49}"/>
    <dgm:cxn modelId="{25A2BF11-D125-4619-AAA3-F180307AB106}" srcId="{2A427965-6144-4AD1-A093-262C5C93FCA6}" destId="{4794E7BF-1209-4E0E-A948-9AE74D1D51AD}" srcOrd="0" destOrd="0" parTransId="{B3B28BF8-AB8A-49D5-A81A-777B4D61C344}" sibTransId="{344B009C-503C-4AD6-94EC-D4B52D20D785}"/>
    <dgm:cxn modelId="{6DE68D14-1C64-4B19-AAAB-336E0AA9987A}" srcId="{4794E7BF-1209-4E0E-A948-9AE74D1D51AD}" destId="{53ACC346-B8E5-4832-BE08-547DC2C15631}" srcOrd="0" destOrd="0" parTransId="{BE581FC8-15B8-4284-853D-7C7FF911FD1C}" sibTransId="{477B4D23-9E47-4167-87A8-09893EBBAC96}"/>
    <dgm:cxn modelId="{F583A228-C43B-4B42-9CC3-1AAD5AADFE34}" type="presOf" srcId="{77AF1298-C81E-4057-9A0D-9F9F29922AFB}" destId="{5BB54920-4B7F-4733-BFDD-6BF68CDFDCDD}" srcOrd="0" destOrd="2" presId="urn:microsoft.com/office/officeart/2008/layout/BendingPictureCaptionList"/>
    <dgm:cxn modelId="{9D7A1839-78F0-4004-836E-AC9DF8C88593}" type="presOf" srcId="{1098FF67-2B22-4587-AFE3-F905936D663A}" destId="{5BB54920-4B7F-4733-BFDD-6BF68CDFDCDD}" srcOrd="0" destOrd="0" presId="urn:microsoft.com/office/officeart/2008/layout/BendingPictureCaptionList"/>
    <dgm:cxn modelId="{430BAD39-DFFA-497F-A2AA-747BB0FE5DE6}" type="presOf" srcId="{07358D1F-943D-4659-842E-78D810724F10}" destId="{5BB54920-4B7F-4733-BFDD-6BF68CDFDCDD}" srcOrd="0" destOrd="1" presId="urn:microsoft.com/office/officeart/2008/layout/BendingPictureCaptionList"/>
    <dgm:cxn modelId="{B4A84853-8DE6-48F9-BAD0-78AF20B39456}" srcId="{1098FF67-2B22-4587-AFE3-F905936D663A}" destId="{77AF1298-C81E-4057-9A0D-9F9F29922AFB}" srcOrd="1" destOrd="0" parTransId="{18721E91-F282-498D-8A4E-238C1FFE3728}" sibTransId="{6116285F-DBBF-4706-9547-71839C26166F}"/>
    <dgm:cxn modelId="{8E115075-4EB3-43AC-8BB1-300902EB58E5}" type="presOf" srcId="{4794E7BF-1209-4E0E-A948-9AE74D1D51AD}" destId="{7BEB5851-0A46-4030-A23C-5EBBCCB02542}" srcOrd="0" destOrd="0" presId="urn:microsoft.com/office/officeart/2008/layout/BendingPictureCaptionList"/>
    <dgm:cxn modelId="{98060288-D742-452D-ADFB-87D87E372DBA}" type="presOf" srcId="{53ACC346-B8E5-4832-BE08-547DC2C15631}" destId="{7BEB5851-0A46-4030-A23C-5EBBCCB02542}" srcOrd="0" destOrd="1" presId="urn:microsoft.com/office/officeart/2008/layout/BendingPictureCaptionList"/>
    <dgm:cxn modelId="{6B672A90-0D07-405B-A8B7-470C36F504BF}" srcId="{1098FF67-2B22-4587-AFE3-F905936D663A}" destId="{07358D1F-943D-4659-842E-78D810724F10}" srcOrd="0" destOrd="0" parTransId="{FF5144A0-F320-45AA-B340-704DDA738F6A}" sibTransId="{4B900A5C-BC1B-4F7C-9579-27032E9D129A}"/>
    <dgm:cxn modelId="{440687A0-63BC-4AD9-8CC7-C6ACE26AC88E}" srcId="{4794E7BF-1209-4E0E-A948-9AE74D1D51AD}" destId="{058710A1-9E0A-469E-8F6D-47DB81F11F0E}" srcOrd="1" destOrd="0" parTransId="{45D73427-0AE0-42B1-9625-467D6DA26086}" sibTransId="{4621B39F-FAA1-4231-B205-56FFEEC33F33}"/>
    <dgm:cxn modelId="{F4B96AA8-F2A1-42FC-88B5-70CB599AA398}" type="presOf" srcId="{70DD450F-FC6E-4BCB-8BBB-36D575E509A1}" destId="{7BEB5851-0A46-4030-A23C-5EBBCCB02542}" srcOrd="0" destOrd="3" presId="urn:microsoft.com/office/officeart/2008/layout/BendingPictureCaptionList"/>
    <dgm:cxn modelId="{0B8235DD-66C0-4935-B137-C45E146B2A93}" srcId="{2A427965-6144-4AD1-A093-262C5C93FCA6}" destId="{1098FF67-2B22-4587-AFE3-F905936D663A}" srcOrd="1" destOrd="0" parTransId="{F3AA3379-FAB5-40A3-815B-D7B8835F374D}" sibTransId="{89CD97FA-50FB-432E-A09D-CB621AC4E8F7}"/>
    <dgm:cxn modelId="{EC90CBEC-915E-42AC-B8F8-F7CA6FAA8019}" type="presOf" srcId="{2A427965-6144-4AD1-A093-262C5C93FCA6}" destId="{4CA8E85B-6F33-471B-ADB2-6B57BA0D646F}" srcOrd="0" destOrd="0" presId="urn:microsoft.com/office/officeart/2008/layout/BendingPictureCaptionList"/>
    <dgm:cxn modelId="{178196FE-2F1B-4E91-B572-D826A18C4519}" type="presOf" srcId="{058710A1-9E0A-469E-8F6D-47DB81F11F0E}" destId="{7BEB5851-0A46-4030-A23C-5EBBCCB02542}" srcOrd="0" destOrd="2" presId="urn:microsoft.com/office/officeart/2008/layout/BendingPictureCaptionList"/>
    <dgm:cxn modelId="{9441BA18-C945-460A-8DF8-442CB3DB8F3C}" type="presParOf" srcId="{4CA8E85B-6F33-471B-ADB2-6B57BA0D646F}" destId="{D0E1C8A3-020B-459F-BA89-541D57F29B0A}" srcOrd="0" destOrd="0" presId="urn:microsoft.com/office/officeart/2008/layout/BendingPictureCaptionList"/>
    <dgm:cxn modelId="{422A8414-8C01-43B2-BCB8-DEEFF523C1E9}" type="presParOf" srcId="{D0E1C8A3-020B-459F-BA89-541D57F29B0A}" destId="{A0BB372B-1636-43C4-AAB7-1AE1D9A60511}" srcOrd="0" destOrd="0" presId="urn:microsoft.com/office/officeart/2008/layout/BendingPictureCaptionList"/>
    <dgm:cxn modelId="{7659DB0F-E726-4A2C-ADE9-C9A38A93318D}" type="presParOf" srcId="{D0E1C8A3-020B-459F-BA89-541D57F29B0A}" destId="{7BEB5851-0A46-4030-A23C-5EBBCCB02542}" srcOrd="1" destOrd="0" presId="urn:microsoft.com/office/officeart/2008/layout/BendingPictureCaptionList"/>
    <dgm:cxn modelId="{EC57CFBA-B65E-4684-A406-B08587754BAD}" type="presParOf" srcId="{4CA8E85B-6F33-471B-ADB2-6B57BA0D646F}" destId="{33755BD8-6AEE-4295-B4DC-D762226663EC}" srcOrd="1" destOrd="0" presId="urn:microsoft.com/office/officeart/2008/layout/BendingPictureCaptionList"/>
    <dgm:cxn modelId="{F7C4A992-F44B-4486-AFC6-F31205B5A144}" type="presParOf" srcId="{4CA8E85B-6F33-471B-ADB2-6B57BA0D646F}" destId="{84C4A99B-3CBB-426E-97D2-EF78D032527A}" srcOrd="2" destOrd="0" presId="urn:microsoft.com/office/officeart/2008/layout/BendingPictureCaptionList"/>
    <dgm:cxn modelId="{12220F84-F8BF-4B77-A5D1-F54FA2D2AA8E}" type="presParOf" srcId="{84C4A99B-3CBB-426E-97D2-EF78D032527A}" destId="{09B8D384-01B8-45B0-A933-AF23A3B75B3D}" srcOrd="0" destOrd="0" presId="urn:microsoft.com/office/officeart/2008/layout/BendingPictureCaptionList"/>
    <dgm:cxn modelId="{8FDD3CC7-5692-47E3-A49D-6A8E2E8F9547}" type="presParOf" srcId="{84C4A99B-3CBB-426E-97D2-EF78D032527A}" destId="{5BB54920-4B7F-4733-BFDD-6BF68CDFDCDD}" srcOrd="1" destOrd="0" presId="urn:microsoft.com/office/officeart/2008/layout/BendingPictureCap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5F5CC83-93CF-47E1-ADC3-69FD02B9AC0F}" type="doc">
      <dgm:prSet loTypeId="urn:microsoft.com/office/officeart/2009/3/layout/HorizontalOrganizationChart" loCatId="hierarchy" qsTypeId="urn:microsoft.com/office/officeart/2005/8/quickstyle/3d3" qsCatId="3D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184D1412-02FE-4E31-B8FD-7D0F7974A609}">
      <dgm:prSet phldrT="[Text]" custT="1"/>
      <dgm:spPr>
        <a:solidFill>
          <a:srgbClr val="333399"/>
        </a:solidFill>
        <a:effectLst/>
      </dgm:spPr>
      <dgm:t>
        <a:bodyPr/>
        <a:lstStyle/>
        <a:p>
          <a:r>
            <a:rPr lang="de-DE" sz="1600" dirty="0" err="1">
              <a:latin typeface="Calibri" panose="020F0502020204030204" pitchFamily="34" charset="0"/>
            </a:rPr>
            <a:t>Ca</a:t>
          </a:r>
          <a:r>
            <a:rPr lang="de-DE" sz="1600" dirty="0">
              <a:latin typeface="Calibri" panose="020F0502020204030204" pitchFamily="34" charset="0"/>
            </a:rPr>
            <a:t>(OH)</a:t>
          </a:r>
          <a:r>
            <a:rPr lang="de-DE" sz="1600" baseline="-25000" dirty="0">
              <a:latin typeface="Calibri" panose="020F0502020204030204" pitchFamily="34" charset="0"/>
            </a:rPr>
            <a:t>2</a:t>
          </a:r>
        </a:p>
      </dgm:t>
    </dgm:pt>
    <dgm:pt modelId="{C6A22EF0-1294-49E6-9FD1-14EC2054EEB8}" type="parTrans" cxnId="{956BF648-F358-43CD-9BD0-766F3866E123}">
      <dgm:prSet/>
      <dgm:spPr/>
      <dgm:t>
        <a:bodyPr/>
        <a:lstStyle/>
        <a:p>
          <a:endParaRPr lang="de-DE" sz="2000">
            <a:latin typeface="Calibri" panose="020F0502020204030204" pitchFamily="34" charset="0"/>
          </a:endParaRPr>
        </a:p>
      </dgm:t>
    </dgm:pt>
    <dgm:pt modelId="{2CEA5246-4C86-4536-93D2-077D8C94C5F9}" type="sibTrans" cxnId="{956BF648-F358-43CD-9BD0-766F3866E123}">
      <dgm:prSet/>
      <dgm:spPr/>
      <dgm:t>
        <a:bodyPr/>
        <a:lstStyle/>
        <a:p>
          <a:endParaRPr lang="de-DE" sz="2000">
            <a:latin typeface="Calibri" panose="020F0502020204030204" pitchFamily="34" charset="0"/>
          </a:endParaRPr>
        </a:p>
      </dgm:t>
    </dgm:pt>
    <dgm:pt modelId="{4CCF6AA2-776A-4A35-8915-02669E0405DE}">
      <dgm:prSet phldrT="[Text]" custT="1"/>
      <dgm:spPr>
        <a:solidFill>
          <a:srgbClr val="333399"/>
        </a:solidFill>
        <a:effectLst/>
      </dgm:spPr>
      <dgm:t>
        <a:bodyPr/>
        <a:lstStyle/>
        <a:p>
          <a:r>
            <a:rPr lang="de-DE" sz="1600" dirty="0">
              <a:latin typeface="Calibri" panose="020F0502020204030204" pitchFamily="34" charset="0"/>
            </a:rPr>
            <a:t>CSH</a:t>
          </a:r>
        </a:p>
      </dgm:t>
    </dgm:pt>
    <dgm:pt modelId="{DEE73417-693C-4384-94A8-06A8D120C54C}" type="parTrans" cxnId="{DB000DB7-E63D-4276-B01F-CCA98376566E}">
      <dgm:prSet/>
      <dgm:spPr>
        <a:ln>
          <a:noFill/>
        </a:ln>
      </dgm:spPr>
      <dgm:t>
        <a:bodyPr/>
        <a:lstStyle/>
        <a:p>
          <a:endParaRPr lang="de-DE" sz="2000">
            <a:latin typeface="Calibri" panose="020F0502020204030204" pitchFamily="34" charset="0"/>
          </a:endParaRPr>
        </a:p>
      </dgm:t>
    </dgm:pt>
    <dgm:pt modelId="{8E95547F-EEB6-4300-97BA-1EE2B4EB2207}" type="sibTrans" cxnId="{DB000DB7-E63D-4276-B01F-CCA98376566E}">
      <dgm:prSet/>
      <dgm:spPr/>
      <dgm:t>
        <a:bodyPr/>
        <a:lstStyle/>
        <a:p>
          <a:endParaRPr lang="de-DE" sz="2000">
            <a:latin typeface="Calibri" panose="020F0502020204030204" pitchFamily="34" charset="0"/>
          </a:endParaRPr>
        </a:p>
      </dgm:t>
    </dgm:pt>
    <dgm:pt modelId="{578AC01A-E358-48B5-B3F4-B55FE990DBD2}">
      <dgm:prSet phldrT="[Text]" custT="1"/>
      <dgm:spPr>
        <a:solidFill>
          <a:srgbClr val="333399"/>
        </a:solidFill>
        <a:effectLst/>
      </dgm:spPr>
      <dgm:t>
        <a:bodyPr/>
        <a:lstStyle/>
        <a:p>
          <a:r>
            <a:rPr lang="de-DE" sz="1600" dirty="0">
              <a:latin typeface="Calibri" panose="020F0502020204030204" pitchFamily="34" charset="0"/>
            </a:rPr>
            <a:t>CaCO</a:t>
          </a:r>
          <a:r>
            <a:rPr lang="de-DE" sz="1600" baseline="-25000" dirty="0">
              <a:latin typeface="Calibri" panose="020F0502020204030204" pitchFamily="34" charset="0"/>
            </a:rPr>
            <a:t>3</a:t>
          </a:r>
        </a:p>
      </dgm:t>
    </dgm:pt>
    <dgm:pt modelId="{FBCB06FD-8A89-4C18-8AD4-6E6E17C7B273}" type="parTrans" cxnId="{B98909AF-2253-4DB8-9E12-E1E55439A3B1}">
      <dgm:prSet/>
      <dgm:spPr>
        <a:ln>
          <a:noFill/>
        </a:ln>
      </dgm:spPr>
      <dgm:t>
        <a:bodyPr/>
        <a:lstStyle/>
        <a:p>
          <a:endParaRPr lang="de-DE" sz="2000">
            <a:latin typeface="Calibri" panose="020F0502020204030204" pitchFamily="34" charset="0"/>
          </a:endParaRPr>
        </a:p>
      </dgm:t>
    </dgm:pt>
    <dgm:pt modelId="{58DA52CB-A516-4AB8-9CA2-4B9AB3F78094}" type="sibTrans" cxnId="{B98909AF-2253-4DB8-9E12-E1E55439A3B1}">
      <dgm:prSet/>
      <dgm:spPr/>
      <dgm:t>
        <a:bodyPr/>
        <a:lstStyle/>
        <a:p>
          <a:endParaRPr lang="de-DE" sz="2000">
            <a:latin typeface="Calibri" panose="020F0502020204030204" pitchFamily="34" charset="0"/>
          </a:endParaRPr>
        </a:p>
      </dgm:t>
    </dgm:pt>
    <dgm:pt modelId="{D061CE4F-E1D2-4FD8-9D7D-AF3B79393D05}">
      <dgm:prSet custT="1"/>
      <dgm:spPr>
        <a:solidFill>
          <a:srgbClr val="333399"/>
        </a:solidFill>
        <a:effectLst/>
      </dgm:spPr>
      <dgm:t>
        <a:bodyPr/>
        <a:lstStyle/>
        <a:p>
          <a:r>
            <a:rPr lang="de-DE" sz="1600" dirty="0">
              <a:latin typeface="Calibri" panose="020F0502020204030204" pitchFamily="34" charset="0"/>
            </a:rPr>
            <a:t>CaO</a:t>
          </a:r>
        </a:p>
      </dgm:t>
    </dgm:pt>
    <dgm:pt modelId="{4463CB04-2CAA-44DB-910D-BCC94B8AA62D}" type="parTrans" cxnId="{CC3084A6-F407-4680-B465-134A8F021B7E}">
      <dgm:prSet/>
      <dgm:spPr/>
      <dgm:t>
        <a:bodyPr/>
        <a:lstStyle/>
        <a:p>
          <a:endParaRPr lang="de-DE" sz="2000">
            <a:latin typeface="Calibri" panose="020F0502020204030204" pitchFamily="34" charset="0"/>
          </a:endParaRPr>
        </a:p>
      </dgm:t>
    </dgm:pt>
    <dgm:pt modelId="{482D2849-79A3-478A-B4BF-B5F04647F488}" type="sibTrans" cxnId="{CC3084A6-F407-4680-B465-134A8F021B7E}">
      <dgm:prSet/>
      <dgm:spPr/>
      <dgm:t>
        <a:bodyPr/>
        <a:lstStyle/>
        <a:p>
          <a:endParaRPr lang="de-DE" sz="2000">
            <a:latin typeface="Calibri" panose="020F0502020204030204" pitchFamily="34" charset="0"/>
          </a:endParaRPr>
        </a:p>
      </dgm:t>
    </dgm:pt>
    <dgm:pt modelId="{DE9D5940-2E3F-474C-AB5A-B1CE47413BE1}" type="pres">
      <dgm:prSet presAssocID="{85F5CC83-93CF-47E1-ADC3-69FD02B9AC0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6F8525BE-29D9-4A1F-A7E9-A1C9109A5A00}" type="pres">
      <dgm:prSet presAssocID="{D061CE4F-E1D2-4FD8-9D7D-AF3B79393D05}" presName="hierRoot1" presStyleCnt="0">
        <dgm:presLayoutVars>
          <dgm:hierBranch val="init"/>
        </dgm:presLayoutVars>
      </dgm:prSet>
      <dgm:spPr/>
    </dgm:pt>
    <dgm:pt modelId="{8B620284-A71F-41D5-AF99-3F99CA14BC61}" type="pres">
      <dgm:prSet presAssocID="{D061CE4F-E1D2-4FD8-9D7D-AF3B79393D05}" presName="rootComposite1" presStyleCnt="0"/>
      <dgm:spPr/>
    </dgm:pt>
    <dgm:pt modelId="{1D2A8940-FC78-45F4-808A-2FAB5C1D179D}" type="pres">
      <dgm:prSet presAssocID="{D061CE4F-E1D2-4FD8-9D7D-AF3B79393D05}" presName="rootText1" presStyleLbl="node0" presStyleIdx="0" presStyleCnt="1" custScaleX="45584" custScaleY="51998">
        <dgm:presLayoutVars>
          <dgm:chPref val="3"/>
        </dgm:presLayoutVars>
      </dgm:prSet>
      <dgm:spPr>
        <a:prstGeom prst="roundRect">
          <a:avLst/>
        </a:prstGeom>
      </dgm:spPr>
    </dgm:pt>
    <dgm:pt modelId="{EAFA5581-FD11-40DD-A094-272879A58AE5}" type="pres">
      <dgm:prSet presAssocID="{D061CE4F-E1D2-4FD8-9D7D-AF3B79393D05}" presName="rootConnector1" presStyleLbl="node1" presStyleIdx="0" presStyleCnt="0"/>
      <dgm:spPr/>
    </dgm:pt>
    <dgm:pt modelId="{086D526B-1FA9-4826-81ED-615C8995797D}" type="pres">
      <dgm:prSet presAssocID="{D061CE4F-E1D2-4FD8-9D7D-AF3B79393D05}" presName="hierChild2" presStyleCnt="0"/>
      <dgm:spPr/>
    </dgm:pt>
    <dgm:pt modelId="{3BF4AACC-6703-44B5-BEA6-E8B23565FFAD}" type="pres">
      <dgm:prSet presAssocID="{C6A22EF0-1294-49E6-9FD1-14EC2054EEB8}" presName="Name64" presStyleLbl="parChTrans1D2" presStyleIdx="0" presStyleCnt="1"/>
      <dgm:spPr/>
    </dgm:pt>
    <dgm:pt modelId="{5E4B04AD-FCEA-41DD-9601-CCB25AA8A393}" type="pres">
      <dgm:prSet presAssocID="{184D1412-02FE-4E31-B8FD-7D0F7974A609}" presName="hierRoot2" presStyleCnt="0">
        <dgm:presLayoutVars>
          <dgm:hierBranch val="init"/>
        </dgm:presLayoutVars>
      </dgm:prSet>
      <dgm:spPr/>
    </dgm:pt>
    <dgm:pt modelId="{E59AD300-907C-4CD5-98B8-59E11FC68968}" type="pres">
      <dgm:prSet presAssocID="{184D1412-02FE-4E31-B8FD-7D0F7974A609}" presName="rootComposite" presStyleCnt="0"/>
      <dgm:spPr/>
    </dgm:pt>
    <dgm:pt modelId="{3F265EC6-C808-4B23-834E-7159B0B19CB7}" type="pres">
      <dgm:prSet presAssocID="{184D1412-02FE-4E31-B8FD-7D0F7974A609}" presName="rootText" presStyleLbl="node2" presStyleIdx="0" presStyleCnt="1" custScaleX="45584" custScaleY="51998">
        <dgm:presLayoutVars>
          <dgm:chPref val="3"/>
        </dgm:presLayoutVars>
      </dgm:prSet>
      <dgm:spPr>
        <a:prstGeom prst="roundRect">
          <a:avLst/>
        </a:prstGeom>
      </dgm:spPr>
    </dgm:pt>
    <dgm:pt modelId="{DAA69410-9F32-45D5-9DB6-38E74CA77686}" type="pres">
      <dgm:prSet presAssocID="{184D1412-02FE-4E31-B8FD-7D0F7974A609}" presName="rootConnector" presStyleLbl="node2" presStyleIdx="0" presStyleCnt="1"/>
      <dgm:spPr/>
    </dgm:pt>
    <dgm:pt modelId="{404001D3-D3B7-4578-B6E3-5A74D476E866}" type="pres">
      <dgm:prSet presAssocID="{184D1412-02FE-4E31-B8FD-7D0F7974A609}" presName="hierChild4" presStyleCnt="0"/>
      <dgm:spPr/>
    </dgm:pt>
    <dgm:pt modelId="{903A33C8-77D0-4634-804A-0AD79724F44F}" type="pres">
      <dgm:prSet presAssocID="{DEE73417-693C-4384-94A8-06A8D120C54C}" presName="Name64" presStyleLbl="parChTrans1D3" presStyleIdx="0" presStyleCnt="2"/>
      <dgm:spPr/>
    </dgm:pt>
    <dgm:pt modelId="{DDD4D627-F3CA-40BA-A4DE-5CA293934DC9}" type="pres">
      <dgm:prSet presAssocID="{4CCF6AA2-776A-4A35-8915-02669E0405DE}" presName="hierRoot2" presStyleCnt="0">
        <dgm:presLayoutVars>
          <dgm:hierBranch val="init"/>
        </dgm:presLayoutVars>
      </dgm:prSet>
      <dgm:spPr/>
    </dgm:pt>
    <dgm:pt modelId="{3834FE89-9806-4AC8-B4E0-7C8FF1566493}" type="pres">
      <dgm:prSet presAssocID="{4CCF6AA2-776A-4A35-8915-02669E0405DE}" presName="rootComposite" presStyleCnt="0"/>
      <dgm:spPr/>
    </dgm:pt>
    <dgm:pt modelId="{7DD9B30A-E7C9-401D-B17F-6D98A72330AB}" type="pres">
      <dgm:prSet presAssocID="{4CCF6AA2-776A-4A35-8915-02669E0405DE}" presName="rootText" presStyleLbl="node3" presStyleIdx="0" presStyleCnt="2" custScaleX="45584" custScaleY="51998">
        <dgm:presLayoutVars>
          <dgm:chPref val="3"/>
        </dgm:presLayoutVars>
      </dgm:prSet>
      <dgm:spPr>
        <a:prstGeom prst="roundRect">
          <a:avLst/>
        </a:prstGeom>
      </dgm:spPr>
    </dgm:pt>
    <dgm:pt modelId="{0C78FB30-08A1-498B-AC26-7FC2665F2661}" type="pres">
      <dgm:prSet presAssocID="{4CCF6AA2-776A-4A35-8915-02669E0405DE}" presName="rootConnector" presStyleLbl="node3" presStyleIdx="0" presStyleCnt="2"/>
      <dgm:spPr/>
    </dgm:pt>
    <dgm:pt modelId="{A7332744-26DF-4F8E-BF3F-E8C110DDD6B9}" type="pres">
      <dgm:prSet presAssocID="{4CCF6AA2-776A-4A35-8915-02669E0405DE}" presName="hierChild4" presStyleCnt="0"/>
      <dgm:spPr/>
    </dgm:pt>
    <dgm:pt modelId="{7E457673-83FB-4D62-A6C3-4CF939FB6EA8}" type="pres">
      <dgm:prSet presAssocID="{4CCF6AA2-776A-4A35-8915-02669E0405DE}" presName="hierChild5" presStyleCnt="0"/>
      <dgm:spPr/>
    </dgm:pt>
    <dgm:pt modelId="{F4274EEE-10DD-4B0C-AB23-7E15322DFCD9}" type="pres">
      <dgm:prSet presAssocID="{FBCB06FD-8A89-4C18-8AD4-6E6E17C7B273}" presName="Name64" presStyleLbl="parChTrans1D3" presStyleIdx="1" presStyleCnt="2"/>
      <dgm:spPr/>
    </dgm:pt>
    <dgm:pt modelId="{16ACDD13-2DC2-42F5-B741-C8842BB3D538}" type="pres">
      <dgm:prSet presAssocID="{578AC01A-E358-48B5-B3F4-B55FE990DBD2}" presName="hierRoot2" presStyleCnt="0">
        <dgm:presLayoutVars>
          <dgm:hierBranch val="init"/>
        </dgm:presLayoutVars>
      </dgm:prSet>
      <dgm:spPr/>
    </dgm:pt>
    <dgm:pt modelId="{8D933A47-2401-450E-801F-5841BBF15E6A}" type="pres">
      <dgm:prSet presAssocID="{578AC01A-E358-48B5-B3F4-B55FE990DBD2}" presName="rootComposite" presStyleCnt="0"/>
      <dgm:spPr/>
    </dgm:pt>
    <dgm:pt modelId="{8700BE62-3161-4B66-A8EA-A626F56F0CB4}" type="pres">
      <dgm:prSet presAssocID="{578AC01A-E358-48B5-B3F4-B55FE990DBD2}" presName="rootText" presStyleLbl="node3" presStyleIdx="1" presStyleCnt="2" custScaleX="45584" custScaleY="51998" custLinFactNeighborX="1204" custLinFactNeighborY="422">
        <dgm:presLayoutVars>
          <dgm:chPref val="3"/>
        </dgm:presLayoutVars>
      </dgm:prSet>
      <dgm:spPr>
        <a:prstGeom prst="roundRect">
          <a:avLst/>
        </a:prstGeom>
      </dgm:spPr>
    </dgm:pt>
    <dgm:pt modelId="{B29A3361-92D0-487E-836D-CC624ED454A0}" type="pres">
      <dgm:prSet presAssocID="{578AC01A-E358-48B5-B3F4-B55FE990DBD2}" presName="rootConnector" presStyleLbl="node3" presStyleIdx="1" presStyleCnt="2"/>
      <dgm:spPr/>
    </dgm:pt>
    <dgm:pt modelId="{BD1C8C54-A02E-4107-9C7E-1A7DB9703053}" type="pres">
      <dgm:prSet presAssocID="{578AC01A-E358-48B5-B3F4-B55FE990DBD2}" presName="hierChild4" presStyleCnt="0"/>
      <dgm:spPr/>
    </dgm:pt>
    <dgm:pt modelId="{EA628F3D-54D5-419D-8367-627615859A98}" type="pres">
      <dgm:prSet presAssocID="{578AC01A-E358-48B5-B3F4-B55FE990DBD2}" presName="hierChild5" presStyleCnt="0"/>
      <dgm:spPr/>
    </dgm:pt>
    <dgm:pt modelId="{4F042BF6-5C84-48A9-8DD9-A1A7AF18449A}" type="pres">
      <dgm:prSet presAssocID="{184D1412-02FE-4E31-B8FD-7D0F7974A609}" presName="hierChild5" presStyleCnt="0"/>
      <dgm:spPr/>
    </dgm:pt>
    <dgm:pt modelId="{8AFA923D-9AEB-47B8-B5AB-6B5324F06F86}" type="pres">
      <dgm:prSet presAssocID="{D061CE4F-E1D2-4FD8-9D7D-AF3B79393D05}" presName="hierChild3" presStyleCnt="0"/>
      <dgm:spPr/>
    </dgm:pt>
  </dgm:ptLst>
  <dgm:cxnLst>
    <dgm:cxn modelId="{1C757D14-7783-4FF1-8E5E-6812D56A8371}" type="presOf" srcId="{FBCB06FD-8A89-4C18-8AD4-6E6E17C7B273}" destId="{F4274EEE-10DD-4B0C-AB23-7E15322DFCD9}" srcOrd="0" destOrd="0" presId="urn:microsoft.com/office/officeart/2009/3/layout/HorizontalOrganizationChart"/>
    <dgm:cxn modelId="{A4C2DA1F-2F4B-47A4-B8CD-E15E02CB6C4B}" type="presOf" srcId="{85F5CC83-93CF-47E1-ADC3-69FD02B9AC0F}" destId="{DE9D5940-2E3F-474C-AB5A-B1CE47413BE1}" srcOrd="0" destOrd="0" presId="urn:microsoft.com/office/officeart/2009/3/layout/HorizontalOrganizationChart"/>
    <dgm:cxn modelId="{BFA47A2E-EDE0-4FCB-9D8C-03216C0C4ABA}" type="presOf" srcId="{DEE73417-693C-4384-94A8-06A8D120C54C}" destId="{903A33C8-77D0-4634-804A-0AD79724F44F}" srcOrd="0" destOrd="0" presId="urn:microsoft.com/office/officeart/2009/3/layout/HorizontalOrganizationChart"/>
    <dgm:cxn modelId="{D20B3A60-366D-4F1C-926C-43A4F93342D1}" type="presOf" srcId="{184D1412-02FE-4E31-B8FD-7D0F7974A609}" destId="{DAA69410-9F32-45D5-9DB6-38E74CA77686}" srcOrd="1" destOrd="0" presId="urn:microsoft.com/office/officeart/2009/3/layout/HorizontalOrganizationChart"/>
    <dgm:cxn modelId="{DF602662-93FB-4185-AF22-92EE89A1B3A9}" type="presOf" srcId="{D061CE4F-E1D2-4FD8-9D7D-AF3B79393D05}" destId="{1D2A8940-FC78-45F4-808A-2FAB5C1D179D}" srcOrd="0" destOrd="0" presId="urn:microsoft.com/office/officeart/2009/3/layout/HorizontalOrganizationChart"/>
    <dgm:cxn modelId="{956BF648-F358-43CD-9BD0-766F3866E123}" srcId="{D061CE4F-E1D2-4FD8-9D7D-AF3B79393D05}" destId="{184D1412-02FE-4E31-B8FD-7D0F7974A609}" srcOrd="0" destOrd="0" parTransId="{C6A22EF0-1294-49E6-9FD1-14EC2054EEB8}" sibTransId="{2CEA5246-4C86-4536-93D2-077D8C94C5F9}"/>
    <dgm:cxn modelId="{00A6DC6D-1F10-4314-9823-6B25106328A7}" type="presOf" srcId="{578AC01A-E358-48B5-B3F4-B55FE990DBD2}" destId="{8700BE62-3161-4B66-A8EA-A626F56F0CB4}" srcOrd="0" destOrd="0" presId="urn:microsoft.com/office/officeart/2009/3/layout/HorizontalOrganizationChart"/>
    <dgm:cxn modelId="{198BAA75-7F4F-47F3-A758-8802519188FE}" type="presOf" srcId="{4CCF6AA2-776A-4A35-8915-02669E0405DE}" destId="{0C78FB30-08A1-498B-AC26-7FC2665F2661}" srcOrd="1" destOrd="0" presId="urn:microsoft.com/office/officeart/2009/3/layout/HorizontalOrganizationChart"/>
    <dgm:cxn modelId="{B05E4F82-C79C-439E-8754-01A7F25048A4}" type="presOf" srcId="{D061CE4F-E1D2-4FD8-9D7D-AF3B79393D05}" destId="{EAFA5581-FD11-40DD-A094-272879A58AE5}" srcOrd="1" destOrd="0" presId="urn:microsoft.com/office/officeart/2009/3/layout/HorizontalOrganizationChart"/>
    <dgm:cxn modelId="{CC3084A6-F407-4680-B465-134A8F021B7E}" srcId="{85F5CC83-93CF-47E1-ADC3-69FD02B9AC0F}" destId="{D061CE4F-E1D2-4FD8-9D7D-AF3B79393D05}" srcOrd="0" destOrd="0" parTransId="{4463CB04-2CAA-44DB-910D-BCC94B8AA62D}" sibTransId="{482D2849-79A3-478A-B4BF-B5F04647F488}"/>
    <dgm:cxn modelId="{B98909AF-2253-4DB8-9E12-E1E55439A3B1}" srcId="{184D1412-02FE-4E31-B8FD-7D0F7974A609}" destId="{578AC01A-E358-48B5-B3F4-B55FE990DBD2}" srcOrd="1" destOrd="0" parTransId="{FBCB06FD-8A89-4C18-8AD4-6E6E17C7B273}" sibTransId="{58DA52CB-A516-4AB8-9CA2-4B9AB3F78094}"/>
    <dgm:cxn modelId="{DB000DB7-E63D-4276-B01F-CCA98376566E}" srcId="{184D1412-02FE-4E31-B8FD-7D0F7974A609}" destId="{4CCF6AA2-776A-4A35-8915-02669E0405DE}" srcOrd="0" destOrd="0" parTransId="{DEE73417-693C-4384-94A8-06A8D120C54C}" sibTransId="{8E95547F-EEB6-4300-97BA-1EE2B4EB2207}"/>
    <dgm:cxn modelId="{81F3ACC8-5798-41CD-9E94-8DE8ED310FBD}" type="presOf" srcId="{C6A22EF0-1294-49E6-9FD1-14EC2054EEB8}" destId="{3BF4AACC-6703-44B5-BEA6-E8B23565FFAD}" srcOrd="0" destOrd="0" presId="urn:microsoft.com/office/officeart/2009/3/layout/HorizontalOrganizationChart"/>
    <dgm:cxn modelId="{637149CD-24F9-4C7C-8977-E86F3545AA8C}" type="presOf" srcId="{184D1412-02FE-4E31-B8FD-7D0F7974A609}" destId="{3F265EC6-C808-4B23-834E-7159B0B19CB7}" srcOrd="0" destOrd="0" presId="urn:microsoft.com/office/officeart/2009/3/layout/HorizontalOrganizationChart"/>
    <dgm:cxn modelId="{9864BFD5-DC0F-4E95-919F-48B69839E48E}" type="presOf" srcId="{4CCF6AA2-776A-4A35-8915-02669E0405DE}" destId="{7DD9B30A-E7C9-401D-B17F-6D98A72330AB}" srcOrd="0" destOrd="0" presId="urn:microsoft.com/office/officeart/2009/3/layout/HorizontalOrganizationChart"/>
    <dgm:cxn modelId="{6B4039EB-4B7E-46D7-92EA-04B5D8C0DF59}" type="presOf" srcId="{578AC01A-E358-48B5-B3F4-B55FE990DBD2}" destId="{B29A3361-92D0-487E-836D-CC624ED454A0}" srcOrd="1" destOrd="0" presId="urn:microsoft.com/office/officeart/2009/3/layout/HorizontalOrganizationChart"/>
    <dgm:cxn modelId="{5E094588-43CF-4741-8E5D-6A70E8AC65C2}" type="presParOf" srcId="{DE9D5940-2E3F-474C-AB5A-B1CE47413BE1}" destId="{6F8525BE-29D9-4A1F-A7E9-A1C9109A5A00}" srcOrd="0" destOrd="0" presId="urn:microsoft.com/office/officeart/2009/3/layout/HorizontalOrganizationChart"/>
    <dgm:cxn modelId="{502A7892-0253-4CA6-BC3E-0B0EDD128C84}" type="presParOf" srcId="{6F8525BE-29D9-4A1F-A7E9-A1C9109A5A00}" destId="{8B620284-A71F-41D5-AF99-3F99CA14BC61}" srcOrd="0" destOrd="0" presId="urn:microsoft.com/office/officeart/2009/3/layout/HorizontalOrganizationChart"/>
    <dgm:cxn modelId="{83DC84D1-1136-44A2-B4BC-4E6E0D649DA3}" type="presParOf" srcId="{8B620284-A71F-41D5-AF99-3F99CA14BC61}" destId="{1D2A8940-FC78-45F4-808A-2FAB5C1D179D}" srcOrd="0" destOrd="0" presId="urn:microsoft.com/office/officeart/2009/3/layout/HorizontalOrganizationChart"/>
    <dgm:cxn modelId="{845E1BB7-1547-469D-9F35-68044C4B280F}" type="presParOf" srcId="{8B620284-A71F-41D5-AF99-3F99CA14BC61}" destId="{EAFA5581-FD11-40DD-A094-272879A58AE5}" srcOrd="1" destOrd="0" presId="urn:microsoft.com/office/officeart/2009/3/layout/HorizontalOrganizationChart"/>
    <dgm:cxn modelId="{61ED09F6-2B7B-4979-85AA-F34218B668E0}" type="presParOf" srcId="{6F8525BE-29D9-4A1F-A7E9-A1C9109A5A00}" destId="{086D526B-1FA9-4826-81ED-615C8995797D}" srcOrd="1" destOrd="0" presId="urn:microsoft.com/office/officeart/2009/3/layout/HorizontalOrganizationChart"/>
    <dgm:cxn modelId="{F6F73D8C-ABD9-46D0-A49C-AC7D23000136}" type="presParOf" srcId="{086D526B-1FA9-4826-81ED-615C8995797D}" destId="{3BF4AACC-6703-44B5-BEA6-E8B23565FFAD}" srcOrd="0" destOrd="0" presId="urn:microsoft.com/office/officeart/2009/3/layout/HorizontalOrganizationChart"/>
    <dgm:cxn modelId="{B96B6833-1EA5-4492-AB89-70F2FAF05501}" type="presParOf" srcId="{086D526B-1FA9-4826-81ED-615C8995797D}" destId="{5E4B04AD-FCEA-41DD-9601-CCB25AA8A393}" srcOrd="1" destOrd="0" presId="urn:microsoft.com/office/officeart/2009/3/layout/HorizontalOrganizationChart"/>
    <dgm:cxn modelId="{0F63BBA1-2E39-4FD6-86A3-25F90232A263}" type="presParOf" srcId="{5E4B04AD-FCEA-41DD-9601-CCB25AA8A393}" destId="{E59AD300-907C-4CD5-98B8-59E11FC68968}" srcOrd="0" destOrd="0" presId="urn:microsoft.com/office/officeart/2009/3/layout/HorizontalOrganizationChart"/>
    <dgm:cxn modelId="{A0DB27E0-D949-48B9-8404-8EB11C3382FF}" type="presParOf" srcId="{E59AD300-907C-4CD5-98B8-59E11FC68968}" destId="{3F265EC6-C808-4B23-834E-7159B0B19CB7}" srcOrd="0" destOrd="0" presId="urn:microsoft.com/office/officeart/2009/3/layout/HorizontalOrganizationChart"/>
    <dgm:cxn modelId="{E8E4781A-BBF1-41EF-86EF-1E8C80B7A21B}" type="presParOf" srcId="{E59AD300-907C-4CD5-98B8-59E11FC68968}" destId="{DAA69410-9F32-45D5-9DB6-38E74CA77686}" srcOrd="1" destOrd="0" presId="urn:microsoft.com/office/officeart/2009/3/layout/HorizontalOrganizationChart"/>
    <dgm:cxn modelId="{18DD945A-FF3B-4C22-85E1-81C66E25E08C}" type="presParOf" srcId="{5E4B04AD-FCEA-41DD-9601-CCB25AA8A393}" destId="{404001D3-D3B7-4578-B6E3-5A74D476E866}" srcOrd="1" destOrd="0" presId="urn:microsoft.com/office/officeart/2009/3/layout/HorizontalOrganizationChart"/>
    <dgm:cxn modelId="{EC2DD837-BD52-4B79-965C-BDA8DCD4E5F7}" type="presParOf" srcId="{404001D3-D3B7-4578-B6E3-5A74D476E866}" destId="{903A33C8-77D0-4634-804A-0AD79724F44F}" srcOrd="0" destOrd="0" presId="urn:microsoft.com/office/officeart/2009/3/layout/HorizontalOrganizationChart"/>
    <dgm:cxn modelId="{B127C909-8D67-4BD0-B71A-CB8EC9CEF8EB}" type="presParOf" srcId="{404001D3-D3B7-4578-B6E3-5A74D476E866}" destId="{DDD4D627-F3CA-40BA-A4DE-5CA293934DC9}" srcOrd="1" destOrd="0" presId="urn:microsoft.com/office/officeart/2009/3/layout/HorizontalOrganizationChart"/>
    <dgm:cxn modelId="{4D8503F1-659C-4970-AA54-95A17AA4818C}" type="presParOf" srcId="{DDD4D627-F3CA-40BA-A4DE-5CA293934DC9}" destId="{3834FE89-9806-4AC8-B4E0-7C8FF1566493}" srcOrd="0" destOrd="0" presId="urn:microsoft.com/office/officeart/2009/3/layout/HorizontalOrganizationChart"/>
    <dgm:cxn modelId="{617AD7BA-304F-4B5A-A73C-7B9F8AE2CA44}" type="presParOf" srcId="{3834FE89-9806-4AC8-B4E0-7C8FF1566493}" destId="{7DD9B30A-E7C9-401D-B17F-6D98A72330AB}" srcOrd="0" destOrd="0" presId="urn:microsoft.com/office/officeart/2009/3/layout/HorizontalOrganizationChart"/>
    <dgm:cxn modelId="{53D461EF-5376-426D-BBF7-8F32B566F0A3}" type="presParOf" srcId="{3834FE89-9806-4AC8-B4E0-7C8FF1566493}" destId="{0C78FB30-08A1-498B-AC26-7FC2665F2661}" srcOrd="1" destOrd="0" presId="urn:microsoft.com/office/officeart/2009/3/layout/HorizontalOrganizationChart"/>
    <dgm:cxn modelId="{00700D2C-9BAB-4318-932F-B64D0E275A69}" type="presParOf" srcId="{DDD4D627-F3CA-40BA-A4DE-5CA293934DC9}" destId="{A7332744-26DF-4F8E-BF3F-E8C110DDD6B9}" srcOrd="1" destOrd="0" presId="urn:microsoft.com/office/officeart/2009/3/layout/HorizontalOrganizationChart"/>
    <dgm:cxn modelId="{8B93AB24-733B-422D-9767-F63EF15D3785}" type="presParOf" srcId="{DDD4D627-F3CA-40BA-A4DE-5CA293934DC9}" destId="{7E457673-83FB-4D62-A6C3-4CF939FB6EA8}" srcOrd="2" destOrd="0" presId="urn:microsoft.com/office/officeart/2009/3/layout/HorizontalOrganizationChart"/>
    <dgm:cxn modelId="{47DEE723-4EB9-4126-A258-B6C37FD6BBCD}" type="presParOf" srcId="{404001D3-D3B7-4578-B6E3-5A74D476E866}" destId="{F4274EEE-10DD-4B0C-AB23-7E15322DFCD9}" srcOrd="2" destOrd="0" presId="urn:microsoft.com/office/officeart/2009/3/layout/HorizontalOrganizationChart"/>
    <dgm:cxn modelId="{05A1BCC2-CDAE-4DB2-B199-EBB4E20F9120}" type="presParOf" srcId="{404001D3-D3B7-4578-B6E3-5A74D476E866}" destId="{16ACDD13-2DC2-42F5-B741-C8842BB3D538}" srcOrd="3" destOrd="0" presId="urn:microsoft.com/office/officeart/2009/3/layout/HorizontalOrganizationChart"/>
    <dgm:cxn modelId="{C8AC79A6-B7FF-4B3D-8E5D-0F9180F1CF35}" type="presParOf" srcId="{16ACDD13-2DC2-42F5-B741-C8842BB3D538}" destId="{8D933A47-2401-450E-801F-5841BBF15E6A}" srcOrd="0" destOrd="0" presId="urn:microsoft.com/office/officeart/2009/3/layout/HorizontalOrganizationChart"/>
    <dgm:cxn modelId="{BCA5DB95-4582-4B3F-BFA9-0CF0A40CFF34}" type="presParOf" srcId="{8D933A47-2401-450E-801F-5841BBF15E6A}" destId="{8700BE62-3161-4B66-A8EA-A626F56F0CB4}" srcOrd="0" destOrd="0" presId="urn:microsoft.com/office/officeart/2009/3/layout/HorizontalOrganizationChart"/>
    <dgm:cxn modelId="{53FFB652-B30E-451B-9DCA-155D3D436FAF}" type="presParOf" srcId="{8D933A47-2401-450E-801F-5841BBF15E6A}" destId="{B29A3361-92D0-487E-836D-CC624ED454A0}" srcOrd="1" destOrd="0" presId="urn:microsoft.com/office/officeart/2009/3/layout/HorizontalOrganizationChart"/>
    <dgm:cxn modelId="{E8380397-961F-43AE-8608-4487E7723CDF}" type="presParOf" srcId="{16ACDD13-2DC2-42F5-B741-C8842BB3D538}" destId="{BD1C8C54-A02E-4107-9C7E-1A7DB9703053}" srcOrd="1" destOrd="0" presId="urn:microsoft.com/office/officeart/2009/3/layout/HorizontalOrganizationChart"/>
    <dgm:cxn modelId="{90BA9FB1-043E-45B8-950C-378A9C1D2D86}" type="presParOf" srcId="{16ACDD13-2DC2-42F5-B741-C8842BB3D538}" destId="{EA628F3D-54D5-419D-8367-627615859A98}" srcOrd="2" destOrd="0" presId="urn:microsoft.com/office/officeart/2009/3/layout/HorizontalOrganizationChart"/>
    <dgm:cxn modelId="{080BDE92-E6E1-47E0-9C3F-F6BBCC8E4633}" type="presParOf" srcId="{5E4B04AD-FCEA-41DD-9601-CCB25AA8A393}" destId="{4F042BF6-5C84-48A9-8DD9-A1A7AF18449A}" srcOrd="2" destOrd="0" presId="urn:microsoft.com/office/officeart/2009/3/layout/HorizontalOrganizationChart"/>
    <dgm:cxn modelId="{3189B510-8CA6-4E00-86B8-D5B125813055}" type="presParOf" srcId="{6F8525BE-29D9-4A1F-A7E9-A1C9109A5A00}" destId="{8AFA923D-9AEB-47B8-B5AB-6B5324F06F86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BB372B-1636-43C4-AAB7-1AE1D9A60511}">
      <dsp:nvSpPr>
        <dsp:cNvPr id="0" name=""/>
        <dsp:cNvSpPr/>
      </dsp:nvSpPr>
      <dsp:spPr>
        <a:xfrm>
          <a:off x="865" y="210331"/>
          <a:ext cx="3375668" cy="270053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" r="-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EB5851-0A46-4030-A23C-5EBBCCB02542}">
      <dsp:nvSpPr>
        <dsp:cNvPr id="0" name=""/>
        <dsp:cNvSpPr/>
      </dsp:nvSpPr>
      <dsp:spPr>
        <a:xfrm>
          <a:off x="304675" y="2640812"/>
          <a:ext cx="3004345" cy="945187"/>
        </a:xfrm>
        <a:prstGeom prst="wedgeRectCallout">
          <a:avLst>
            <a:gd name="adj1" fmla="val 20250"/>
            <a:gd name="adj2" fmla="val -607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1400" kern="1200" dirty="0"/>
        </a:p>
        <a:p>
          <a:pPr marL="57150" lvl="1" indent="-57150" algn="ctr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r>
            <a:rPr lang="en-GB" sz="1100" kern="1200" dirty="0"/>
            <a:t>Marginal soils</a:t>
          </a:r>
          <a:r>
            <a:rPr lang="en-US" sz="1100" kern="1200" dirty="0"/>
            <a:t>​</a:t>
          </a:r>
          <a:endParaRPr lang="sk-SK" sz="1100" kern="1200" dirty="0"/>
        </a:p>
        <a:p>
          <a:pPr marL="57150" lvl="1" indent="-57150" algn="ctr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r>
            <a:rPr lang="en-GB" sz="1100" kern="1200" dirty="0"/>
            <a:t>“Poor rated”</a:t>
          </a:r>
          <a:r>
            <a:rPr lang="en-US" sz="1100" kern="1200" dirty="0"/>
            <a:t>​</a:t>
          </a:r>
          <a:endParaRPr lang="sk-SK" sz="1100" kern="1200" dirty="0"/>
        </a:p>
        <a:p>
          <a:pPr marL="57150" lvl="1" indent="-57150" algn="ctr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r>
            <a:rPr lang="en-GB" sz="1100" kern="1200" dirty="0"/>
            <a:t>Difficult for geo-engineers</a:t>
          </a:r>
          <a:endParaRPr lang="sk-SK" sz="1100" kern="1200" dirty="0"/>
        </a:p>
      </dsp:txBody>
      <dsp:txXfrm>
        <a:off x="304675" y="2640812"/>
        <a:ext cx="3004345" cy="945187"/>
      </dsp:txXfrm>
    </dsp:sp>
    <dsp:sp modelId="{09B8D384-01B8-45B0-A933-AF23A3B75B3D}">
      <dsp:nvSpPr>
        <dsp:cNvPr id="0" name=""/>
        <dsp:cNvSpPr/>
      </dsp:nvSpPr>
      <dsp:spPr>
        <a:xfrm>
          <a:off x="3714101" y="210331"/>
          <a:ext cx="3375668" cy="2700535"/>
        </a:xfrm>
        <a:prstGeom prst="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" r="-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BB54920-4B7F-4733-BFDD-6BF68CDFDCDD}">
      <dsp:nvSpPr>
        <dsp:cNvPr id="0" name=""/>
        <dsp:cNvSpPr/>
      </dsp:nvSpPr>
      <dsp:spPr>
        <a:xfrm>
          <a:off x="4017911" y="2640812"/>
          <a:ext cx="3004345" cy="945187"/>
        </a:xfrm>
        <a:prstGeom prst="wedgeRectCallout">
          <a:avLst>
            <a:gd name="adj1" fmla="val 20250"/>
            <a:gd name="adj2" fmla="val -607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1400" kern="1200" dirty="0"/>
        </a:p>
        <a:p>
          <a:pPr marL="57150" lvl="1" indent="-57150" algn="ctr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1100" kern="1200" dirty="0"/>
            <a:t>Soil Treated Layers</a:t>
          </a:r>
          <a:endParaRPr lang="sk-SK" sz="1100" kern="1200" dirty="0"/>
        </a:p>
        <a:p>
          <a:pPr marL="57150" lvl="1" indent="-57150" algn="ctr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GB" sz="1100" kern="1200" dirty="0"/>
            <a:t>For capping layers, subgrade &amp; fills</a:t>
          </a:r>
          <a:endParaRPr lang="sk-SK" sz="1100" kern="1200" dirty="0"/>
        </a:p>
      </dsp:txBody>
      <dsp:txXfrm>
        <a:off x="4017911" y="2640812"/>
        <a:ext cx="3004345" cy="94518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274EEE-10DD-4B0C-AB23-7E15322DFCD9}">
      <dsp:nvSpPr>
        <dsp:cNvPr id="0" name=""/>
        <dsp:cNvSpPr/>
      </dsp:nvSpPr>
      <dsp:spPr>
        <a:xfrm>
          <a:off x="3562015" y="1680186"/>
          <a:ext cx="643211" cy="4580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23054" y="0"/>
              </a:lnTo>
              <a:lnTo>
                <a:pt x="323054" y="458093"/>
              </a:lnTo>
              <a:lnTo>
                <a:pt x="643211" y="458093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3A33C8-77D0-4634-804A-0AD79724F44F}">
      <dsp:nvSpPr>
        <dsp:cNvPr id="0" name=""/>
        <dsp:cNvSpPr/>
      </dsp:nvSpPr>
      <dsp:spPr>
        <a:xfrm>
          <a:off x="3562015" y="1226214"/>
          <a:ext cx="640313" cy="453972"/>
        </a:xfrm>
        <a:custGeom>
          <a:avLst/>
          <a:gdLst/>
          <a:ahLst/>
          <a:cxnLst/>
          <a:rect l="0" t="0" r="0" b="0"/>
          <a:pathLst>
            <a:path>
              <a:moveTo>
                <a:pt x="0" y="453972"/>
              </a:moveTo>
              <a:lnTo>
                <a:pt x="320156" y="453972"/>
              </a:lnTo>
              <a:lnTo>
                <a:pt x="320156" y="0"/>
              </a:lnTo>
              <a:lnTo>
                <a:pt x="640313" y="0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BF4AACC-6703-44B5-BEA6-E8B23565FFAD}">
      <dsp:nvSpPr>
        <dsp:cNvPr id="0" name=""/>
        <dsp:cNvSpPr/>
      </dsp:nvSpPr>
      <dsp:spPr>
        <a:xfrm>
          <a:off x="1462300" y="1634466"/>
          <a:ext cx="64031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640313" y="45720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2A8940-FC78-45F4-808A-2FAB5C1D179D}">
      <dsp:nvSpPr>
        <dsp:cNvPr id="0" name=""/>
        <dsp:cNvSpPr/>
      </dsp:nvSpPr>
      <dsp:spPr>
        <a:xfrm>
          <a:off x="2898" y="1426312"/>
          <a:ext cx="1459402" cy="507748"/>
        </a:xfrm>
        <a:prstGeom prst="roundRect">
          <a:avLst/>
        </a:prstGeom>
        <a:solidFill>
          <a:srgbClr val="333399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latin typeface="Calibri" panose="020F0502020204030204" pitchFamily="34" charset="0"/>
            </a:rPr>
            <a:t>CaO</a:t>
          </a:r>
        </a:p>
      </dsp:txBody>
      <dsp:txXfrm>
        <a:off x="27684" y="1451098"/>
        <a:ext cx="1409830" cy="458176"/>
      </dsp:txXfrm>
    </dsp:sp>
    <dsp:sp modelId="{3F265EC6-C808-4B23-834E-7159B0B19CB7}">
      <dsp:nvSpPr>
        <dsp:cNvPr id="0" name=""/>
        <dsp:cNvSpPr/>
      </dsp:nvSpPr>
      <dsp:spPr>
        <a:xfrm>
          <a:off x="2102613" y="1426312"/>
          <a:ext cx="1459402" cy="507748"/>
        </a:xfrm>
        <a:prstGeom prst="roundRect">
          <a:avLst/>
        </a:prstGeom>
        <a:solidFill>
          <a:srgbClr val="333399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 err="1">
              <a:latin typeface="Calibri" panose="020F0502020204030204" pitchFamily="34" charset="0"/>
            </a:rPr>
            <a:t>Ca</a:t>
          </a:r>
          <a:r>
            <a:rPr lang="de-DE" sz="1600" kern="1200" dirty="0">
              <a:latin typeface="Calibri" panose="020F0502020204030204" pitchFamily="34" charset="0"/>
            </a:rPr>
            <a:t>(OH)</a:t>
          </a:r>
          <a:r>
            <a:rPr lang="de-DE" sz="1600" kern="1200" baseline="-25000" dirty="0">
              <a:latin typeface="Calibri" panose="020F0502020204030204" pitchFamily="34" charset="0"/>
            </a:rPr>
            <a:t>2</a:t>
          </a:r>
        </a:p>
      </dsp:txBody>
      <dsp:txXfrm>
        <a:off x="2127399" y="1451098"/>
        <a:ext cx="1409830" cy="458176"/>
      </dsp:txXfrm>
    </dsp:sp>
    <dsp:sp modelId="{7DD9B30A-E7C9-401D-B17F-6D98A72330AB}">
      <dsp:nvSpPr>
        <dsp:cNvPr id="0" name=""/>
        <dsp:cNvSpPr/>
      </dsp:nvSpPr>
      <dsp:spPr>
        <a:xfrm>
          <a:off x="4202328" y="972339"/>
          <a:ext cx="1459402" cy="507748"/>
        </a:xfrm>
        <a:prstGeom prst="roundRect">
          <a:avLst/>
        </a:prstGeom>
        <a:solidFill>
          <a:srgbClr val="333399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latin typeface="Calibri" panose="020F0502020204030204" pitchFamily="34" charset="0"/>
            </a:rPr>
            <a:t>CSH</a:t>
          </a:r>
        </a:p>
      </dsp:txBody>
      <dsp:txXfrm>
        <a:off x="4227114" y="997125"/>
        <a:ext cx="1409830" cy="458176"/>
      </dsp:txXfrm>
    </dsp:sp>
    <dsp:sp modelId="{8700BE62-3161-4B66-A8EA-A626F56F0CB4}">
      <dsp:nvSpPr>
        <dsp:cNvPr id="0" name=""/>
        <dsp:cNvSpPr/>
      </dsp:nvSpPr>
      <dsp:spPr>
        <a:xfrm>
          <a:off x="4205226" y="1884405"/>
          <a:ext cx="1459402" cy="507748"/>
        </a:xfrm>
        <a:prstGeom prst="roundRect">
          <a:avLst/>
        </a:prstGeom>
        <a:solidFill>
          <a:srgbClr val="333399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latin typeface="Calibri" panose="020F0502020204030204" pitchFamily="34" charset="0"/>
            </a:rPr>
            <a:t>CaCO</a:t>
          </a:r>
          <a:r>
            <a:rPr lang="de-DE" sz="1600" kern="1200" baseline="-25000" dirty="0">
              <a:latin typeface="Calibri" panose="020F0502020204030204" pitchFamily="34" charset="0"/>
            </a:rPr>
            <a:t>3</a:t>
          </a:r>
        </a:p>
      </dsp:txBody>
      <dsp:txXfrm>
        <a:off x="4230012" y="1909191"/>
        <a:ext cx="1409830" cy="4581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BendingPictureCaptionList">
  <dgm:title val=""/>
  <dgm:desc val=""/>
  <dgm:catLst>
    <dgm:cat type="picture" pri="9000"/>
    <dgm:cat type="pictureconvert" pri="9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w" fact="1.11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"/>
              <dgm:constr type="t" for="ch" forName="rect1" refType="h" fact="0"/>
              <dgm:constr type="w" for="ch" forName="rect1" refType="w"/>
              <dgm:constr type="h" for="ch" forName="rect1" refType="h" fact="0.8"/>
              <dgm:constr type="l" for="ch" forName="wedgeRectCallout1" refType="w" fact="0.09"/>
              <dgm:constr type="t" for="ch" forName="wedgeRectCallout1" refType="h" fact="0.72"/>
              <dgm:constr type="w" for="ch" forName="wedgeRectCallout1" refType="w" fact="0.89"/>
              <dgm:constr type="h" for="ch" forName="wedgeRectCallout1" refType="h" fact="0.28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w"/>
              <dgm:constr type="h" for="ch" forName="rect1" refType="h" fact="0.8"/>
              <dgm:constr type="l" for="ch" forName="wedgeRectCallout1" refType="w" fact="0.02"/>
              <dgm:constr type="t" for="ch" forName="wedgeRectCallout1" refType="h" fact="0.72"/>
              <dgm:constr type="w" for="ch" forName="wedgeRectCallout1" refType="w" fact="0.89"/>
              <dgm:constr type="h" for="ch" forName="wedgeRectCallout1" refType="h" fact="0.28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wedgeRectCallout1" styleLbl="node1">
          <dgm:varLst>
            <dgm:bulletEnabled val="1"/>
          </dgm:varLst>
          <dgm:alg type="tx"/>
          <dgm:choose name="Name7">
            <dgm:if name="Name8" func="var" arg="dir" op="equ" val="norm">
              <dgm:shape xmlns:r="http://schemas.openxmlformats.org/officeDocument/2006/relationships" type="wedgeRectCallout" r:blip="">
                <dgm:adjLst>
                  <dgm:adj idx="1" val="0.2025"/>
                  <dgm:adj idx="2" val="-0.607"/>
                </dgm:adjLst>
              </dgm:shape>
            </dgm:if>
            <dgm:else name="Name9">
              <dgm:shape xmlns:r="http://schemas.openxmlformats.org/officeDocument/2006/relationships" type="wedgeRectCallout" r:blip="">
                <dgm:adjLst>
                  <dgm:adj idx="1" val="-0.2025"/>
                  <dgm:adj idx="2" val="-0.607"/>
                </dgm:adjLst>
              </dgm:shape>
            </dgm:else>
          </dgm:choos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2128</cdr:x>
      <cdr:y>0.26855</cdr:y>
    </cdr:from>
    <cdr:to>
      <cdr:x>0.41796</cdr:x>
      <cdr:y>0.35515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944340" y="1116533"/>
          <a:ext cx="1728192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DE" sz="2000" b="1" dirty="0"/>
            <a:t>Carbonation</a:t>
          </a:r>
        </a:p>
      </cdr:txBody>
    </cdr:sp>
  </cdr:relSizeAnchor>
  <cdr:relSizeAnchor xmlns:cdr="http://schemas.openxmlformats.org/drawingml/2006/chartDrawing">
    <cdr:from>
      <cdr:x>0.54088</cdr:x>
      <cdr:y>0.12999</cdr:y>
    </cdr:from>
    <cdr:to>
      <cdr:x>0.68839</cdr:x>
      <cdr:y>0.27377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4752652" y="540469"/>
          <a:ext cx="1296144" cy="59777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DE" sz="2000" b="1" dirty="0" err="1"/>
            <a:t>Available</a:t>
          </a:r>
          <a:r>
            <a:rPr lang="de-DE" sz="2000" b="1" dirty="0"/>
            <a:t> </a:t>
          </a:r>
          <a:r>
            <a:rPr lang="de-DE" sz="2000" b="1" dirty="0" err="1"/>
            <a:t>lime</a:t>
          </a:r>
          <a:endParaRPr lang="de-DE" sz="2000" b="1" dirty="0"/>
        </a:p>
      </cdr:txBody>
    </cdr:sp>
  </cdr:relSizeAnchor>
  <cdr:relSizeAnchor xmlns:cdr="http://schemas.openxmlformats.org/drawingml/2006/chartDrawing">
    <cdr:from>
      <cdr:x>0.56547</cdr:x>
      <cdr:y>0.4937</cdr:y>
    </cdr:from>
    <cdr:to>
      <cdr:x>0.74576</cdr:x>
      <cdr:y>0.64957</cdr:y>
    </cdr:to>
    <cdr:sp macro="" textlink="">
      <cdr:nvSpPr>
        <cdr:cNvPr id="4" name="Textfeld 1"/>
        <cdr:cNvSpPr txBox="1"/>
      </cdr:nvSpPr>
      <cdr:spPr>
        <a:xfrm xmlns:a="http://schemas.openxmlformats.org/drawingml/2006/main">
          <a:off x="4968676" y="2052637"/>
          <a:ext cx="1584176" cy="64807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DE" sz="2000" b="1" dirty="0"/>
            <a:t>Pozzolanic </a:t>
          </a:r>
          <a:r>
            <a:rPr lang="de-DE" sz="2000" b="1" dirty="0" err="1"/>
            <a:t>reaction</a:t>
          </a:r>
          <a:endParaRPr lang="de-DE" sz="2000" b="1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fr-BE" dirty="0">
              <a:solidFill>
                <a:schemeClr val="bg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A1056D4-590D-495E-83CC-9E6EBE40A21F}" type="datetimeFigureOut">
              <a:rPr lang="fr-BE" smtClean="0">
                <a:solidFill>
                  <a:schemeClr val="bg2"/>
                </a:solidFill>
              </a:rPr>
              <a:t>05-12-22</a:t>
            </a:fld>
            <a:endParaRPr lang="fr-BE">
              <a:solidFill>
                <a:schemeClr val="bg2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fr-BE">
              <a:solidFill>
                <a:schemeClr val="bg2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69E4941-1411-4DD2-B066-B4990480180E}" type="slidenum">
              <a:rPr lang="fr-BE" smtClean="0">
                <a:solidFill>
                  <a:schemeClr val="bg2"/>
                </a:solidFill>
              </a:rPr>
              <a:t>‹#›</a:t>
            </a:fld>
            <a:endParaRPr lang="fr-BE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20427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94304EE-C2D7-4883-97D7-1F07E462916A}" type="datetimeFigureOut">
              <a:rPr lang="fr-BE" smtClean="0"/>
              <a:t>05-12-22</a:t>
            </a:fld>
            <a:endParaRPr lang="fr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fr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D00B57D-D9B0-4709-AB06-632DD86B6C6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592697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00B57D-D9B0-4709-AB06-632DD86B6C63}" type="slidenum">
              <a:rPr lang="fr-BE" smtClean="0"/>
              <a:t>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5655470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00B57D-D9B0-4709-AB06-632DD86B6C63}" type="slidenum">
              <a:rPr lang="fr-BE" smtClean="0"/>
              <a:t>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3778676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/>
              <a:t>1904-1960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First use </a:t>
            </a:r>
            <a:r>
              <a:rPr lang="en-US" sz="1200" err="1">
                <a:solidFill>
                  <a:schemeClr val="accent3"/>
                </a:solidFill>
                <a:latin typeface="DIN Offc" panose="020B0504020101020102" pitchFamily="34" charset="0"/>
              </a:rPr>
              <a:t>i</a:t>
            </a:r>
            <a:r>
              <a:rPr kumimoji="0" lang="en-US" sz="1200" b="0" i="0" u="none" strike="noStrike" kern="1200" cap="none" spc="0" normalizeH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DIN Offc" panose="020B0504020101020102" pitchFamily="34" charset="0"/>
                <a:ea typeface="+mn-ea"/>
                <a:cs typeface="+mn-cs"/>
              </a:rPr>
              <a:t>n USA (1904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lang="en-US" sz="1200" baseline="0">
                <a:solidFill>
                  <a:schemeClr val="accent3"/>
                </a:solidFill>
                <a:latin typeface="DIN Offc" panose="020B0504020101020102" pitchFamily="34" charset="0"/>
              </a:rPr>
              <a:t>Understanding of lime &amp; clay soils (swelling) in 1940’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DIN Offc" panose="020B0504020101020102" pitchFamily="34" charset="0"/>
                <a:ea typeface="+mn-ea"/>
                <a:cs typeface="+mn-cs"/>
              </a:rPr>
              <a:t>1956 : Lime </a:t>
            </a:r>
            <a:r>
              <a:rPr lang="en-US" sz="1200" b="1">
                <a:solidFill>
                  <a:schemeClr val="accent3"/>
                </a:solidFill>
                <a:latin typeface="DIN Offc" panose="020B0504020101020102" pitchFamily="34" charset="0"/>
              </a:rPr>
              <a:t>Fixation Point (by US-Army) – “STABILISATION”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DIN Offc" panose="020B0504020101020102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/>
              <a:t>1960’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First use </a:t>
            </a:r>
            <a:r>
              <a:rPr lang="en-US" sz="1200" err="1">
                <a:solidFill>
                  <a:schemeClr val="accent3"/>
                </a:solidFill>
                <a:latin typeface="DIN Offc" panose="020B0504020101020102" pitchFamily="34" charset="0"/>
              </a:rPr>
              <a:t>i</a:t>
            </a:r>
            <a:r>
              <a:rPr kumimoji="0" lang="en-US" sz="1200" b="0" i="0" u="none" strike="noStrike" kern="1200" cap="none" spc="0" normalizeH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DIN Offc" panose="020B0504020101020102" pitchFamily="34" charset="0"/>
                <a:ea typeface="+mn-ea"/>
                <a:cs typeface="+mn-cs"/>
              </a:rPr>
              <a:t>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DIN Offc" panose="020B0504020101020102" pitchFamily="34" charset="0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DIN Offc" panose="020B0504020101020102" pitchFamily="34" charset="0"/>
                <a:ea typeface="+mn-ea"/>
                <a:cs typeface="+mn-cs"/>
              </a:rPr>
              <a:t>Fr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DIN Offc" panose="020B0504020101020102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chemeClr val="tx2"/>
                </a:solidFill>
              </a:rPr>
              <a:t>1970-1990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lang="en-US" sz="1200" b="1">
                <a:solidFill>
                  <a:schemeClr val="accent3"/>
                </a:solidFill>
                <a:latin typeface="DIN Offc" panose="020B0504020101020102" pitchFamily="34" charset="0"/>
              </a:rPr>
              <a:t>Highway projects Belgiu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DIN Offc" panose="020B0504020101020102" pitchFamily="34" charset="0"/>
                <a:ea typeface="+mn-ea"/>
                <a:cs typeface="+mn-cs"/>
              </a:rPr>
              <a:t>1200 km built</a:t>
            </a:r>
          </a:p>
          <a:p>
            <a:pPr marL="285750" indent="-285750">
              <a:buSzPct val="120000"/>
              <a:buFont typeface="Wingdings" panose="05000000000000000000" pitchFamily="2" charset="2"/>
              <a:buChar char="§"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DIN Offc" panose="020B0504020101020102" pitchFamily="34" charset="0"/>
                <a:ea typeface="+mn-ea"/>
                <a:cs typeface="+mn-cs"/>
              </a:rPr>
              <a:t>First use 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DIN Offc" panose="020B0504020101020102" pitchFamily="34" charset="0"/>
                <a:ea typeface="+mn-ea"/>
                <a:cs typeface="+mn-cs"/>
              </a:rPr>
              <a:t>– limited</a:t>
            </a:r>
            <a:endParaRPr lang="en-US" sz="1200">
              <a:solidFill>
                <a:schemeClr val="accent3"/>
              </a:solidFill>
              <a:latin typeface="DIN Offc" panose="020B0504020101020102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lang="en-US" sz="1200" b="1">
                <a:solidFill>
                  <a:schemeClr val="accent3"/>
                </a:solidFill>
                <a:latin typeface="DIN Offc" panose="020B0504020101020102" pitchFamily="34" charset="0"/>
              </a:rPr>
              <a:t>15 million m3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DIN Offc" panose="020B0504020101020102" pitchFamily="34" charset="0"/>
                <a:ea typeface="+mn-ea"/>
                <a:cs typeface="+mn-cs"/>
              </a:rPr>
              <a:t>200.000 T </a:t>
            </a:r>
            <a:r>
              <a:rPr lang="en-US" sz="1200" b="1">
                <a:solidFill>
                  <a:schemeClr val="accent3"/>
                </a:solidFill>
                <a:latin typeface="DIN Offc" panose="020B0504020101020102" pitchFamily="34" charset="0"/>
              </a:rPr>
              <a:t>lime used </a:t>
            </a: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(*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endParaRPr kumimoji="0" lang="en-US" sz="1200" i="0" u="none" strike="noStrike" kern="1200" cap="none" spc="0" normalizeH="0" baseline="0" noProof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DIN Offc" panose="020B0504020101020102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chemeClr val="accent5"/>
                </a:solidFill>
              </a:rPr>
              <a:t>1990-199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chemeClr val="accent3"/>
                </a:solidFill>
                <a:latin typeface="DIN Offc" panose="020B0504020101020102" pitchFamily="34" charset="0"/>
              </a:rPr>
              <a:t>High Speed Railway </a:t>
            </a: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Paris-Lille-Cala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i="0" u="none" strike="noStrike" kern="1200" cap="none" spc="0" normalizeH="0" baseline="0" noProof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DIN Offc" panose="020B0504020101020102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chemeClr val="accent5"/>
                </a:solidFill>
              </a:rPr>
              <a:t>1997-2006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lang="en-US" sz="1200" b="1">
                <a:solidFill>
                  <a:schemeClr val="accent3"/>
                </a:solidFill>
                <a:latin typeface="DIN Offc" panose="020B0504020101020102" pitchFamily="34" charset="0"/>
              </a:rPr>
              <a:t>High Speed Railway Belgiu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DIN Offc" panose="020B0504020101020102" pitchFamily="34" charset="0"/>
                <a:ea typeface="+mn-ea"/>
                <a:cs typeface="+mn-cs"/>
              </a:rPr>
              <a:t>300 km built</a:t>
            </a:r>
          </a:p>
          <a:p>
            <a:pPr marL="285750" indent="-285750"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 b="1">
                <a:solidFill>
                  <a:schemeClr val="accent3"/>
                </a:solidFill>
                <a:latin typeface="DIN Offc" panose="020B0504020101020102" pitchFamily="34" charset="0"/>
              </a:rPr>
              <a:t>Know-how progressed (SNCF) 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DIN Offc" panose="020B0504020101020102" pitchFamily="34" charset="0"/>
                <a:ea typeface="+mn-ea"/>
                <a:cs typeface="+mn-cs"/>
              </a:rPr>
              <a:t> </a:t>
            </a:r>
            <a:endParaRPr lang="en-US" sz="1200">
              <a:solidFill>
                <a:schemeClr val="accent3"/>
              </a:solidFill>
              <a:latin typeface="DIN Offc" panose="020B0504020101020102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lang="en-US" sz="1200" b="1">
                <a:solidFill>
                  <a:schemeClr val="accent3"/>
                </a:solidFill>
                <a:latin typeface="DIN Offc" panose="020B0504020101020102" pitchFamily="34" charset="0"/>
              </a:rPr>
              <a:t>15 million m3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DIN Offc" panose="020B0504020101020102" pitchFamily="34" charset="0"/>
                <a:ea typeface="+mn-ea"/>
                <a:cs typeface="+mn-cs"/>
              </a:rPr>
              <a:t>300.000 T </a:t>
            </a:r>
            <a:r>
              <a:rPr lang="en-US" sz="1200" b="1">
                <a:solidFill>
                  <a:schemeClr val="accent3"/>
                </a:solidFill>
                <a:latin typeface="DIN Offc" panose="020B0504020101020102" pitchFamily="34" charset="0"/>
              </a:rPr>
              <a:t>lime used </a:t>
            </a: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(**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Wingdings" panose="05000000000000000000" pitchFamily="2" charset="2"/>
              <a:buChar char="§"/>
              <a:tabLst/>
              <a:defRPr/>
            </a:pPr>
            <a:endParaRPr kumimoji="0" lang="en-US" sz="1200" i="0" u="none" strike="noStrike" kern="1200" cap="none" spc="0" normalizeH="0" baseline="0" noProof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DIN Offc" panose="020B0504020101020102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chemeClr val="accent6">
                    <a:lumMod val="75000"/>
                  </a:schemeClr>
                </a:solidFill>
              </a:rPr>
              <a:t>2000-today</a:t>
            </a:r>
          </a:p>
          <a:p>
            <a:pPr marL="285750" lvl="0" indent="-285750"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Flemish Law : </a:t>
            </a:r>
            <a:r>
              <a:rPr lang="en-US" sz="1200" b="1" err="1">
                <a:solidFill>
                  <a:schemeClr val="accent3"/>
                </a:solidFill>
                <a:latin typeface="DIN Offc" panose="020B0504020101020102" pitchFamily="34" charset="0"/>
              </a:rPr>
              <a:t>Gronddecreet</a:t>
            </a: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 (1995)</a:t>
            </a:r>
          </a:p>
          <a:p>
            <a:pPr marL="285750" lvl="0" indent="-285750"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M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DIN Offc" panose="020B0504020101020102" pitchFamily="34" charset="0"/>
              </a:rPr>
              <a:t>ore &amp; more soil mixing technology </a:t>
            </a: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 available (Wirtgen becoming the reference)</a:t>
            </a:r>
          </a:p>
          <a:p>
            <a:pPr marL="285750" lvl="0" indent="-285750"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French laws (recycling promoted)</a:t>
            </a:r>
          </a:p>
          <a:p>
            <a:pPr marL="285750" lvl="0" indent="-285750"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Use for </a:t>
            </a:r>
            <a:r>
              <a:rPr lang="en-US" sz="1200" b="1">
                <a:solidFill>
                  <a:schemeClr val="accent3"/>
                </a:solidFill>
                <a:latin typeface="DIN Offc" panose="020B0504020101020102" pitchFamily="34" charset="0"/>
              </a:rPr>
              <a:t>industrial parks, conventional railways, roads, airports, … </a:t>
            </a:r>
          </a:p>
          <a:p>
            <a:pPr marL="285750" lvl="0" indent="-285750">
              <a:buSzPct val="120000"/>
              <a:buFont typeface="Wingdings" panose="05000000000000000000" pitchFamily="2" charset="2"/>
              <a:buChar char="§"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DIN Offc" panose="020B0504020101020102" pitchFamily="34" charset="0"/>
              </a:rPr>
              <a:t>Evolution of Nat. Technical Guides </a:t>
            </a:r>
          </a:p>
          <a:p>
            <a:pPr marL="285750" lvl="0" indent="-285750"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Walloon Law (2020) : </a:t>
            </a:r>
            <a:r>
              <a:rPr lang="en-US" sz="1200" b="1" err="1">
                <a:solidFill>
                  <a:schemeClr val="accent3"/>
                </a:solidFill>
                <a:latin typeface="DIN Offc" panose="020B0504020101020102" pitchFamily="34" charset="0"/>
              </a:rPr>
              <a:t>Walterre</a:t>
            </a:r>
            <a:endParaRPr lang="en-US" sz="1200" b="1">
              <a:solidFill>
                <a:schemeClr val="accent3"/>
              </a:solidFill>
              <a:latin typeface="DIN Offc" panose="020B0504020101020102" pitchFamily="34" charset="0"/>
            </a:endParaRPr>
          </a:p>
          <a:p>
            <a:pPr marL="285750" lvl="0" indent="-285750">
              <a:buSzPct val="120000"/>
              <a:buFont typeface="Wingdings" panose="05000000000000000000" pitchFamily="2" charset="2"/>
              <a:buChar char="§"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DIN Offc" panose="020B0504020101020102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chemeClr val="accent4"/>
                </a:solidFill>
              </a:rPr>
              <a:t>2019-2020</a:t>
            </a:r>
          </a:p>
          <a:p>
            <a:pPr marL="285750" lvl="0" indent="-285750"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Turkey</a:t>
            </a:r>
          </a:p>
          <a:p>
            <a:pPr marL="285750" lvl="0" indent="-285750"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Largest megaproject Carmeuse</a:t>
            </a:r>
          </a:p>
          <a:p>
            <a:pPr marL="285750" lvl="0" indent="-285750"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Highway connection to </a:t>
            </a:r>
            <a:r>
              <a:rPr lang="en-US" sz="1200" err="1">
                <a:solidFill>
                  <a:schemeClr val="accent3"/>
                </a:solidFill>
                <a:latin typeface="DIN Offc" panose="020B0504020101020102" pitchFamily="34" charset="0"/>
              </a:rPr>
              <a:t>Canakkale</a:t>
            </a: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-Bridge</a:t>
            </a:r>
          </a:p>
          <a:p>
            <a:pPr marL="285750" lvl="0" indent="-285750"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100 km (in </a:t>
            </a:r>
            <a:r>
              <a:rPr lang="en-US" sz="1200" b="1">
                <a:solidFill>
                  <a:schemeClr val="accent3"/>
                </a:solidFill>
                <a:latin typeface="DIN Offc" panose="020B0504020101020102" pitchFamily="34" charset="0"/>
              </a:rPr>
              <a:t>2Y built</a:t>
            </a: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)</a:t>
            </a:r>
          </a:p>
          <a:p>
            <a:pPr marL="285750" lvl="0" indent="-285750"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 b="1">
                <a:solidFill>
                  <a:schemeClr val="accent3"/>
                </a:solidFill>
                <a:latin typeface="DIN Offc" panose="020B0504020101020102" pitchFamily="34" charset="0"/>
              </a:rPr>
              <a:t>10 million m3</a:t>
            </a:r>
          </a:p>
          <a:p>
            <a:pPr marL="285750" lvl="0" indent="-285750"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 b="1">
                <a:solidFill>
                  <a:schemeClr val="accent3"/>
                </a:solidFill>
                <a:latin typeface="DIN Offc" panose="020B0504020101020102" pitchFamily="34" charset="0"/>
              </a:rPr>
              <a:t>250.000 T</a:t>
            </a:r>
          </a:p>
          <a:p>
            <a:pPr marL="285750" lvl="0" indent="-285750">
              <a:buSzPct val="120000"/>
              <a:buFont typeface="Wingdings" panose="05000000000000000000" pitchFamily="2" charset="2"/>
              <a:buChar char="§"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DIN Offc" panose="020B0504020101020102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/>
              <a:t>FUTURE</a:t>
            </a:r>
          </a:p>
          <a:p>
            <a:pPr marL="285750" lvl="0" indent="-285750" fontAlgn="base">
              <a:spcBef>
                <a:spcPct val="0"/>
              </a:spcBef>
              <a:spcAft>
                <a:spcPct val="0"/>
              </a:spcAft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Always larger </a:t>
            </a:r>
            <a:r>
              <a:rPr lang="en-US" sz="1200" err="1">
                <a:solidFill>
                  <a:schemeClr val="accent3"/>
                </a:solidFill>
                <a:latin typeface="DIN Offc" panose="020B0504020101020102" pitchFamily="34" charset="0"/>
              </a:rPr>
              <a:t>megasized</a:t>
            </a: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 earthworks projects</a:t>
            </a:r>
          </a:p>
          <a:p>
            <a:pPr marL="285750" lvl="0" indent="-285750" fontAlgn="base">
              <a:spcBef>
                <a:spcPct val="0"/>
              </a:spcBef>
              <a:spcAft>
                <a:spcPct val="0"/>
              </a:spcAft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 b="1">
                <a:solidFill>
                  <a:schemeClr val="accent3"/>
                </a:solidFill>
                <a:latin typeface="DIN Offc" panose="020B0504020101020102" pitchFamily="34" charset="0"/>
              </a:rPr>
              <a:t>Canal-Seine-Nord</a:t>
            </a:r>
          </a:p>
          <a:p>
            <a:pPr marL="285750" lvl="0" indent="-285750" fontAlgn="base">
              <a:spcBef>
                <a:spcPct val="0"/>
              </a:spcBef>
              <a:spcAft>
                <a:spcPct val="0"/>
              </a:spcAft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200">
                <a:solidFill>
                  <a:schemeClr val="accent3"/>
                </a:solidFill>
                <a:latin typeface="DIN Offc" panose="020B0504020101020102" pitchFamily="34" charset="0"/>
              </a:rPr>
              <a:t>Carbon reduction solutions in the picture</a:t>
            </a:r>
          </a:p>
          <a:p>
            <a:endParaRPr lang="en-BE"/>
          </a:p>
          <a:p>
            <a:endParaRPr lang="en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00B57D-D9B0-4709-AB06-632DD86B6C63}" type="slidenum">
              <a:rPr lang="fr-BE" smtClean="0"/>
              <a:t>1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8509489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00B57D-D9B0-4709-AB06-632DD86B6C63}" type="slidenum">
              <a:rPr lang="fr-BE" smtClean="0"/>
              <a:t>15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9579943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00B57D-D9B0-4709-AB06-632DD86B6C63}" type="slidenum">
              <a:rPr lang="fr-BE" smtClean="0"/>
              <a:t>2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0476873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ame </a:t>
            </a:r>
            <a:r>
              <a:rPr lang="de-DE" dirty="0" err="1"/>
              <a:t>location</a:t>
            </a:r>
            <a:r>
              <a:rPr lang="de-DE" dirty="0"/>
              <a:t> -&gt; </a:t>
            </a:r>
            <a:r>
              <a:rPr lang="de-DE" dirty="0" err="1"/>
              <a:t>direct</a:t>
            </a:r>
            <a:r>
              <a:rPr lang="de-DE" dirty="0"/>
              <a:t> </a:t>
            </a:r>
            <a:r>
              <a:rPr lang="de-DE" dirty="0" err="1"/>
              <a:t>comparison</a:t>
            </a:r>
            <a:r>
              <a:rPr lang="de-DE" baseline="0" dirty="0"/>
              <a:t> </a:t>
            </a:r>
            <a:r>
              <a:rPr lang="de-DE" baseline="0" dirty="0" err="1"/>
              <a:t>possibl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B0162-176D-4563-9129-F210F0124896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87757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00B57D-D9B0-4709-AB06-632DD86B6C63}" type="slidenum">
              <a:rPr lang="fr-BE" smtClean="0"/>
              <a:t>3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750524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047"/>
            <a:ext cx="12192000" cy="6864094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auto">
          <a:xfrm>
            <a:off x="3454400" y="820058"/>
            <a:ext cx="5283200" cy="4996542"/>
          </a:xfrm>
          <a:prstGeom prst="rect">
            <a:avLst/>
          </a:prstGeom>
          <a:gradFill>
            <a:gsLst>
              <a:gs pos="100000">
                <a:schemeClr val="tx1"/>
              </a:gs>
              <a:gs pos="5000">
                <a:schemeClr val="tx2">
                  <a:alpha val="79000"/>
                </a:schemeClr>
              </a:gs>
            </a:gsLst>
            <a:lin ang="162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fr-BE" sz="2400" dirty="0">
              <a:solidFill>
                <a:srgbClr val="005191"/>
              </a:solidFill>
              <a:latin typeface="Tahoma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482" b="16950"/>
          <a:stretch/>
        </p:blipFill>
        <p:spPr>
          <a:xfrm>
            <a:off x="4825063" y="1199866"/>
            <a:ext cx="2541874" cy="1340134"/>
          </a:xfrm>
          <a:prstGeom prst="rect">
            <a:avLst/>
          </a:prstGeom>
        </p:spPr>
      </p:pic>
      <p:sp>
        <p:nvSpPr>
          <p:cNvPr id="18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3741467" y="4748171"/>
            <a:ext cx="4720361" cy="72371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3741467" y="2839074"/>
            <a:ext cx="4720361" cy="167487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600" b="1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65492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A Right blu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6457950" y="533400"/>
            <a:ext cx="5734050" cy="57912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7107238" y="2320925"/>
            <a:ext cx="4433887" cy="22209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 rot="5400000" flipH="1">
            <a:off x="6897169" y="2124260"/>
            <a:ext cx="772024" cy="767631"/>
          </a:xfrm>
          <a:custGeom>
            <a:avLst/>
            <a:gdLst>
              <a:gd name="connsiteX0" fmla="*/ 772024 w 772024"/>
              <a:gd name="connsiteY0" fmla="*/ 767631 h 767631"/>
              <a:gd name="connsiteX1" fmla="*/ 772024 w 772024"/>
              <a:gd name="connsiteY1" fmla="*/ 0 h 767631"/>
              <a:gd name="connsiteX2" fmla="*/ 708436 w 772024"/>
              <a:gd name="connsiteY2" fmla="*/ 0 h 767631"/>
              <a:gd name="connsiteX3" fmla="*/ 708436 w 772024"/>
              <a:gd name="connsiteY3" fmla="*/ 704043 h 767631"/>
              <a:gd name="connsiteX4" fmla="*/ 0 w 772024"/>
              <a:gd name="connsiteY4" fmla="*/ 704043 h 767631"/>
              <a:gd name="connsiteX5" fmla="*/ 0 w 772024"/>
              <a:gd name="connsiteY5" fmla="*/ 767631 h 767631"/>
              <a:gd name="connsiteX6" fmla="*/ 708436 w 772024"/>
              <a:gd name="connsiteY6" fmla="*/ 767631 h 767631"/>
              <a:gd name="connsiteX7" fmla="*/ 708436 w 772024"/>
              <a:gd name="connsiteY7" fmla="*/ 767631 h 76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024" h="767631">
                <a:moveTo>
                  <a:pt x="772024" y="767631"/>
                </a:moveTo>
                <a:lnTo>
                  <a:pt x="772024" y="0"/>
                </a:lnTo>
                <a:lnTo>
                  <a:pt x="708436" y="0"/>
                </a:lnTo>
                <a:lnTo>
                  <a:pt x="708436" y="704043"/>
                </a:lnTo>
                <a:lnTo>
                  <a:pt x="0" y="704043"/>
                </a:lnTo>
                <a:lnTo>
                  <a:pt x="0" y="767631"/>
                </a:lnTo>
                <a:lnTo>
                  <a:pt x="708436" y="767631"/>
                </a:lnTo>
                <a:lnTo>
                  <a:pt x="708436" y="76763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 flipH="1">
            <a:off x="10981366" y="3963914"/>
            <a:ext cx="767632" cy="772024"/>
          </a:xfrm>
          <a:custGeom>
            <a:avLst/>
            <a:gdLst>
              <a:gd name="connsiteX0" fmla="*/ 63589 w 767632"/>
              <a:gd name="connsiteY0" fmla="*/ 0 h 772024"/>
              <a:gd name="connsiteX1" fmla="*/ 1 w 767632"/>
              <a:gd name="connsiteY1" fmla="*/ 0 h 772024"/>
              <a:gd name="connsiteX2" fmla="*/ 1 w 767632"/>
              <a:gd name="connsiteY2" fmla="*/ 708436 h 772024"/>
              <a:gd name="connsiteX3" fmla="*/ 0 w 767632"/>
              <a:gd name="connsiteY3" fmla="*/ 708436 h 772024"/>
              <a:gd name="connsiteX4" fmla="*/ 0 w 767632"/>
              <a:gd name="connsiteY4" fmla="*/ 772024 h 772024"/>
              <a:gd name="connsiteX5" fmla="*/ 767632 w 767632"/>
              <a:gd name="connsiteY5" fmla="*/ 772024 h 772024"/>
              <a:gd name="connsiteX6" fmla="*/ 767632 w 767632"/>
              <a:gd name="connsiteY6" fmla="*/ 708436 h 772024"/>
              <a:gd name="connsiteX7" fmla="*/ 63589 w 767632"/>
              <a:gd name="connsiteY7" fmla="*/ 708436 h 772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7632" h="772024">
                <a:moveTo>
                  <a:pt x="63589" y="0"/>
                </a:moveTo>
                <a:lnTo>
                  <a:pt x="1" y="0"/>
                </a:lnTo>
                <a:lnTo>
                  <a:pt x="1" y="708436"/>
                </a:lnTo>
                <a:lnTo>
                  <a:pt x="0" y="708436"/>
                </a:lnTo>
                <a:lnTo>
                  <a:pt x="0" y="772024"/>
                </a:lnTo>
                <a:lnTo>
                  <a:pt x="767632" y="772024"/>
                </a:lnTo>
                <a:lnTo>
                  <a:pt x="767632" y="708436"/>
                </a:lnTo>
                <a:lnTo>
                  <a:pt x="63589" y="7084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2252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A Right blu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6457950" y="533400"/>
            <a:ext cx="5734050" cy="5791200"/>
          </a:xfrm>
          <a:prstGeom prst="rect">
            <a:avLst/>
          </a:prstGeom>
          <a:solidFill>
            <a:schemeClr val="accent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7107238" y="2320925"/>
            <a:ext cx="4433887" cy="22209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 rot="5400000" flipH="1">
            <a:off x="6897169" y="2124260"/>
            <a:ext cx="772024" cy="767631"/>
          </a:xfrm>
          <a:custGeom>
            <a:avLst/>
            <a:gdLst>
              <a:gd name="connsiteX0" fmla="*/ 772024 w 772024"/>
              <a:gd name="connsiteY0" fmla="*/ 767631 h 767631"/>
              <a:gd name="connsiteX1" fmla="*/ 772024 w 772024"/>
              <a:gd name="connsiteY1" fmla="*/ 0 h 767631"/>
              <a:gd name="connsiteX2" fmla="*/ 708436 w 772024"/>
              <a:gd name="connsiteY2" fmla="*/ 0 h 767631"/>
              <a:gd name="connsiteX3" fmla="*/ 708436 w 772024"/>
              <a:gd name="connsiteY3" fmla="*/ 704043 h 767631"/>
              <a:gd name="connsiteX4" fmla="*/ 0 w 772024"/>
              <a:gd name="connsiteY4" fmla="*/ 704043 h 767631"/>
              <a:gd name="connsiteX5" fmla="*/ 0 w 772024"/>
              <a:gd name="connsiteY5" fmla="*/ 767631 h 767631"/>
              <a:gd name="connsiteX6" fmla="*/ 708436 w 772024"/>
              <a:gd name="connsiteY6" fmla="*/ 767631 h 767631"/>
              <a:gd name="connsiteX7" fmla="*/ 708436 w 772024"/>
              <a:gd name="connsiteY7" fmla="*/ 767631 h 76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024" h="767631">
                <a:moveTo>
                  <a:pt x="772024" y="767631"/>
                </a:moveTo>
                <a:lnTo>
                  <a:pt x="772024" y="0"/>
                </a:lnTo>
                <a:lnTo>
                  <a:pt x="708436" y="0"/>
                </a:lnTo>
                <a:lnTo>
                  <a:pt x="708436" y="704043"/>
                </a:lnTo>
                <a:lnTo>
                  <a:pt x="0" y="704043"/>
                </a:lnTo>
                <a:lnTo>
                  <a:pt x="0" y="767631"/>
                </a:lnTo>
                <a:lnTo>
                  <a:pt x="708436" y="767631"/>
                </a:lnTo>
                <a:lnTo>
                  <a:pt x="708436" y="76763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 flipH="1">
            <a:off x="10981366" y="3963914"/>
            <a:ext cx="767632" cy="772024"/>
          </a:xfrm>
          <a:custGeom>
            <a:avLst/>
            <a:gdLst>
              <a:gd name="connsiteX0" fmla="*/ 63589 w 767632"/>
              <a:gd name="connsiteY0" fmla="*/ 0 h 772024"/>
              <a:gd name="connsiteX1" fmla="*/ 1 w 767632"/>
              <a:gd name="connsiteY1" fmla="*/ 0 h 772024"/>
              <a:gd name="connsiteX2" fmla="*/ 1 w 767632"/>
              <a:gd name="connsiteY2" fmla="*/ 708436 h 772024"/>
              <a:gd name="connsiteX3" fmla="*/ 0 w 767632"/>
              <a:gd name="connsiteY3" fmla="*/ 708436 h 772024"/>
              <a:gd name="connsiteX4" fmla="*/ 0 w 767632"/>
              <a:gd name="connsiteY4" fmla="*/ 772024 h 772024"/>
              <a:gd name="connsiteX5" fmla="*/ 767632 w 767632"/>
              <a:gd name="connsiteY5" fmla="*/ 772024 h 772024"/>
              <a:gd name="connsiteX6" fmla="*/ 767632 w 767632"/>
              <a:gd name="connsiteY6" fmla="*/ 708436 h 772024"/>
              <a:gd name="connsiteX7" fmla="*/ 63589 w 767632"/>
              <a:gd name="connsiteY7" fmla="*/ 708436 h 772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7632" h="772024">
                <a:moveTo>
                  <a:pt x="63589" y="0"/>
                </a:moveTo>
                <a:lnTo>
                  <a:pt x="1" y="0"/>
                </a:lnTo>
                <a:lnTo>
                  <a:pt x="1" y="708436"/>
                </a:lnTo>
                <a:lnTo>
                  <a:pt x="0" y="708436"/>
                </a:lnTo>
                <a:lnTo>
                  <a:pt x="0" y="772024"/>
                </a:lnTo>
                <a:lnTo>
                  <a:pt x="767632" y="772024"/>
                </a:lnTo>
                <a:lnTo>
                  <a:pt x="767632" y="708436"/>
                </a:lnTo>
                <a:lnTo>
                  <a:pt x="63589" y="7084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757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B Left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5734050" cy="6858000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49288" y="580571"/>
            <a:ext cx="4433887" cy="580571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37195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B Left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5734050" cy="6858000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49288" y="580571"/>
            <a:ext cx="4433887" cy="580571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93224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B Left blu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5734050" cy="68580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49288" y="580571"/>
            <a:ext cx="4433887" cy="580571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03311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B Left blu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5734050" cy="6858000"/>
          </a:xfrm>
          <a:prstGeom prst="rect">
            <a:avLst/>
          </a:prstGeom>
          <a:solidFill>
            <a:schemeClr val="accent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49288" y="580571"/>
            <a:ext cx="4433887" cy="580571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8863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B Right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6457950" y="0"/>
            <a:ext cx="5734050" cy="6858000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7107238" y="580571"/>
            <a:ext cx="4433887" cy="580571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09138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B Right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6457950" y="0"/>
            <a:ext cx="5734050" cy="6858000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7107238" y="580571"/>
            <a:ext cx="4433887" cy="580571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2288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B Right blu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6457950" y="0"/>
            <a:ext cx="5734050" cy="68580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7107238" y="580571"/>
            <a:ext cx="4433887" cy="580571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95703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B Right blu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6457950" y="0"/>
            <a:ext cx="5734050" cy="6858000"/>
          </a:xfrm>
          <a:prstGeom prst="rect">
            <a:avLst/>
          </a:prstGeom>
          <a:solidFill>
            <a:schemeClr val="accent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7107238" y="580571"/>
            <a:ext cx="4433887" cy="580571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71465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6210" y="1203734"/>
            <a:ext cx="10540590" cy="38624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686210" y="676811"/>
            <a:ext cx="10540590" cy="523220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86211" y="1924050"/>
            <a:ext cx="10540590" cy="42862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2400">
                <a:solidFill>
                  <a:schemeClr val="accent4"/>
                </a:solidFill>
              </a:defRPr>
            </a:lvl1pPr>
            <a:lvl2pPr marL="230188" indent="0">
              <a:buFont typeface="Wingdings" panose="05000000000000000000" pitchFamily="2" charset="2"/>
              <a:buNone/>
              <a:defRPr sz="2000">
                <a:solidFill>
                  <a:schemeClr val="accent2"/>
                </a:solidFill>
              </a:defRPr>
            </a:lvl2pPr>
            <a:lvl3pPr marL="461963" indent="0">
              <a:buFont typeface="Wingdings" panose="05000000000000000000" pitchFamily="2" charset="2"/>
              <a:buNone/>
              <a:defRPr sz="1800">
                <a:solidFill>
                  <a:schemeClr val="accent2"/>
                </a:solidFill>
              </a:defRPr>
            </a:lvl3pPr>
            <a:lvl4pPr marL="684212" indent="0">
              <a:buFont typeface="Wingdings" panose="05000000000000000000" pitchFamily="2" charset="2"/>
              <a:buNone/>
              <a:defRPr sz="1600">
                <a:solidFill>
                  <a:schemeClr val="accent2"/>
                </a:solidFill>
              </a:defRPr>
            </a:lvl4pPr>
            <a:lvl5pPr marL="914400" indent="0">
              <a:buFont typeface="Wingdings" panose="05000000000000000000" pitchFamily="2" charset="2"/>
              <a:buNone/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>
          <a:xfrm>
            <a:off x="171451" y="17211"/>
            <a:ext cx="11537949" cy="338651"/>
          </a:xfrm>
          <a:prstGeom prst="rect">
            <a:avLst/>
          </a:prstGeom>
          <a:noFill/>
        </p:spPr>
        <p:txBody>
          <a:bodyPr lIns="91440" tIns="0" rIns="0" bIns="0" anchor="ctr" anchorCtr="0">
            <a:normAutofit/>
          </a:bodyPr>
          <a:lstStyle>
            <a:lvl1pPr marL="0" indent="0" algn="l">
              <a:buNone/>
              <a:defRPr sz="1600" b="0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71700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C Up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12192000" cy="2894089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52009" y="580572"/>
            <a:ext cx="10887982" cy="1828799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42321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C Up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12192000" cy="2894089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52009" y="580572"/>
            <a:ext cx="10887982" cy="1828799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92584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C Up blu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12192000" cy="2894089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52009" y="580572"/>
            <a:ext cx="10887982" cy="1828799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0203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C Up blu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12192000" cy="2894089"/>
          </a:xfrm>
          <a:prstGeom prst="rect">
            <a:avLst/>
          </a:prstGeom>
          <a:solidFill>
            <a:schemeClr val="accent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52009" y="580572"/>
            <a:ext cx="10887982" cy="1828799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84222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C Down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3963911"/>
            <a:ext cx="12192000" cy="2894089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52009" y="4544483"/>
            <a:ext cx="10887982" cy="1828799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44429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C Down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3963911"/>
            <a:ext cx="12192000" cy="2894089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52009" y="4544483"/>
            <a:ext cx="10887982" cy="1828799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28026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C Down blu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3963911"/>
            <a:ext cx="12192000" cy="2894089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52009" y="4544483"/>
            <a:ext cx="10887982" cy="1828799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210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C Down blu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3963911"/>
            <a:ext cx="12192000" cy="2894089"/>
          </a:xfrm>
          <a:prstGeom prst="rect">
            <a:avLst/>
          </a:prstGeom>
          <a:solidFill>
            <a:schemeClr val="accent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52009" y="4544483"/>
            <a:ext cx="10887982" cy="1828799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35083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committ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B13D0D67-6C58-4A66-95BF-435949A5A7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1451" y="17211"/>
            <a:ext cx="11537949" cy="338651"/>
          </a:xfrm>
          <a:prstGeom prst="rect">
            <a:avLst/>
          </a:prstGeom>
          <a:noFill/>
        </p:spPr>
        <p:txBody>
          <a:bodyPr lIns="91440" tIns="0" rIns="0" bIns="0" anchor="ctr" anchorCtr="0">
            <a:normAutofit/>
          </a:bodyPr>
          <a:lstStyle>
            <a:lvl1pPr marL="0" indent="0" algn="l">
              <a:buNone/>
              <a:defRPr sz="1600" b="0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  <a:endParaRPr lang="fr-B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85A71A-3293-BBBE-7E21-0CD3693AFD2F}"/>
              </a:ext>
            </a:extLst>
          </p:cNvPr>
          <p:cNvSpPr/>
          <p:nvPr userDrawn="1"/>
        </p:nvSpPr>
        <p:spPr>
          <a:xfrm>
            <a:off x="-1" y="368563"/>
            <a:ext cx="12192001" cy="6489437"/>
          </a:xfrm>
          <a:prstGeom prst="rect">
            <a:avLst/>
          </a:prstGeom>
          <a:gradFill>
            <a:gsLst>
              <a:gs pos="100000">
                <a:schemeClr val="tx2"/>
              </a:gs>
              <a:gs pos="37000">
                <a:schemeClr val="tx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id-ID" sz="2400">
              <a:solidFill>
                <a:schemeClr val="tx1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6" name="TextBox 33">
            <a:extLst>
              <a:ext uri="{FF2B5EF4-FFF2-40B4-BE49-F238E27FC236}">
                <a16:creationId xmlns:a16="http://schemas.microsoft.com/office/drawing/2014/main" id="{360629FA-22A3-294C-BB34-0364D7495904}"/>
              </a:ext>
            </a:extLst>
          </p:cNvPr>
          <p:cNvSpPr txBox="1"/>
          <p:nvPr userDrawn="1"/>
        </p:nvSpPr>
        <p:spPr>
          <a:xfrm>
            <a:off x="2552974" y="1222825"/>
            <a:ext cx="7086052" cy="614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EXECUTIVE COMMITTEE</a:t>
            </a:r>
          </a:p>
        </p:txBody>
      </p:sp>
      <p:pic>
        <p:nvPicPr>
          <p:cNvPr id="7" name="Picture 41">
            <a:extLst>
              <a:ext uri="{FF2B5EF4-FFF2-40B4-BE49-F238E27FC236}">
                <a16:creationId xmlns:a16="http://schemas.microsoft.com/office/drawing/2014/main" id="{2333B9A9-4BC5-B0DE-3180-610B36EB78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482" b="16950"/>
          <a:stretch/>
        </p:blipFill>
        <p:spPr>
          <a:xfrm>
            <a:off x="11301144" y="6379368"/>
            <a:ext cx="822018" cy="433388"/>
          </a:xfrm>
          <a:prstGeom prst="rect">
            <a:avLst/>
          </a:prstGeom>
        </p:spPr>
      </p:pic>
      <p:sp>
        <p:nvSpPr>
          <p:cNvPr id="8" name="TextBox 35">
            <a:extLst>
              <a:ext uri="{FF2B5EF4-FFF2-40B4-BE49-F238E27FC236}">
                <a16:creationId xmlns:a16="http://schemas.microsoft.com/office/drawing/2014/main" id="{E77572D7-CA80-F32A-B478-F0AE2022FDA0}"/>
              </a:ext>
            </a:extLst>
          </p:cNvPr>
          <p:cNvSpPr txBox="1"/>
          <p:nvPr userDrawn="1"/>
        </p:nvSpPr>
        <p:spPr>
          <a:xfrm>
            <a:off x="5257404" y="4681133"/>
            <a:ext cx="1703027" cy="4523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Rodolphe COLLINET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Group CEO</a:t>
            </a:r>
            <a:endParaRPr lang="en-US" sz="900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9" name="TextBox 36">
            <a:extLst>
              <a:ext uri="{FF2B5EF4-FFF2-40B4-BE49-F238E27FC236}">
                <a16:creationId xmlns:a16="http://schemas.microsoft.com/office/drawing/2014/main" id="{E9F14E93-B131-9784-2E78-D903D0E0031E}"/>
              </a:ext>
            </a:extLst>
          </p:cNvPr>
          <p:cNvSpPr txBox="1"/>
          <p:nvPr userDrawn="1"/>
        </p:nvSpPr>
        <p:spPr>
          <a:xfrm>
            <a:off x="2097826" y="4681133"/>
            <a:ext cx="1304052" cy="43730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Yves WILLEMS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CEO Americas</a:t>
            </a:r>
          </a:p>
        </p:txBody>
      </p:sp>
      <p:sp>
        <p:nvSpPr>
          <p:cNvPr id="10" name="TextBox 37">
            <a:extLst>
              <a:ext uri="{FF2B5EF4-FFF2-40B4-BE49-F238E27FC236}">
                <a16:creationId xmlns:a16="http://schemas.microsoft.com/office/drawing/2014/main" id="{E7C8C800-A477-E9C8-BE03-51A3BFD88369}"/>
              </a:ext>
            </a:extLst>
          </p:cNvPr>
          <p:cNvSpPr txBox="1"/>
          <p:nvPr userDrawn="1"/>
        </p:nvSpPr>
        <p:spPr>
          <a:xfrm>
            <a:off x="8423119" y="4681133"/>
            <a:ext cx="1960635" cy="4523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Tim VAN DEN BOSSCHE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CEO Europe</a:t>
            </a:r>
          </a:p>
        </p:txBody>
      </p:sp>
      <p:sp>
        <p:nvSpPr>
          <p:cNvPr id="11" name="TextBox 38">
            <a:extLst>
              <a:ext uri="{FF2B5EF4-FFF2-40B4-BE49-F238E27FC236}">
                <a16:creationId xmlns:a16="http://schemas.microsoft.com/office/drawing/2014/main" id="{D17A508D-EBE6-DF6B-F739-67881BA32FF1}"/>
              </a:ext>
            </a:extLst>
          </p:cNvPr>
          <p:cNvSpPr txBox="1"/>
          <p:nvPr userDrawn="1"/>
        </p:nvSpPr>
        <p:spPr>
          <a:xfrm>
            <a:off x="7104847" y="4681133"/>
            <a:ext cx="1363743" cy="4523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Danielle KNOTT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Group CHRO</a:t>
            </a:r>
          </a:p>
        </p:txBody>
      </p:sp>
      <p:sp>
        <p:nvSpPr>
          <p:cNvPr id="13" name="Isosceles Triangle 41">
            <a:extLst>
              <a:ext uri="{FF2B5EF4-FFF2-40B4-BE49-F238E27FC236}">
                <a16:creationId xmlns:a16="http://schemas.microsoft.com/office/drawing/2014/main" id="{54E1B680-CEA0-A628-3607-38472C45EF0E}"/>
              </a:ext>
            </a:extLst>
          </p:cNvPr>
          <p:cNvSpPr/>
          <p:nvPr userDrawn="1"/>
        </p:nvSpPr>
        <p:spPr bwMode="auto">
          <a:xfrm flipV="1">
            <a:off x="9277412" y="4569609"/>
            <a:ext cx="298557" cy="95338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</a:endParaRPr>
          </a:p>
        </p:txBody>
      </p:sp>
      <p:sp>
        <p:nvSpPr>
          <p:cNvPr id="14" name="Isosceles Triangle 42">
            <a:extLst>
              <a:ext uri="{FF2B5EF4-FFF2-40B4-BE49-F238E27FC236}">
                <a16:creationId xmlns:a16="http://schemas.microsoft.com/office/drawing/2014/main" id="{E035BBBA-228F-340F-33B3-74DB877CD8BE}"/>
              </a:ext>
            </a:extLst>
          </p:cNvPr>
          <p:cNvSpPr/>
          <p:nvPr userDrawn="1"/>
        </p:nvSpPr>
        <p:spPr bwMode="auto">
          <a:xfrm flipV="1">
            <a:off x="2600574" y="4569609"/>
            <a:ext cx="298557" cy="95338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</a:endParaRPr>
          </a:p>
        </p:txBody>
      </p:sp>
      <p:sp>
        <p:nvSpPr>
          <p:cNvPr id="15" name="TextBox 45">
            <a:extLst>
              <a:ext uri="{FF2B5EF4-FFF2-40B4-BE49-F238E27FC236}">
                <a16:creationId xmlns:a16="http://schemas.microsoft.com/office/drawing/2014/main" id="{4AE94945-25D5-4135-C357-9467CAD24AA0}"/>
              </a:ext>
            </a:extLst>
          </p:cNvPr>
          <p:cNvSpPr txBox="1"/>
          <p:nvPr userDrawn="1"/>
        </p:nvSpPr>
        <p:spPr>
          <a:xfrm>
            <a:off x="3565480" y="4681133"/>
            <a:ext cx="1555376" cy="43730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Barbara JONNART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Group CFO</a:t>
            </a:r>
          </a:p>
        </p:txBody>
      </p:sp>
      <p:sp>
        <p:nvSpPr>
          <p:cNvPr id="17" name="Isosceles Triangle 46">
            <a:extLst>
              <a:ext uri="{FF2B5EF4-FFF2-40B4-BE49-F238E27FC236}">
                <a16:creationId xmlns:a16="http://schemas.microsoft.com/office/drawing/2014/main" id="{2DC99699-D7BB-1904-C068-3596CCE07C44}"/>
              </a:ext>
            </a:extLst>
          </p:cNvPr>
          <p:cNvSpPr/>
          <p:nvPr userDrawn="1"/>
        </p:nvSpPr>
        <p:spPr bwMode="auto">
          <a:xfrm flipV="1">
            <a:off x="7637440" y="4569609"/>
            <a:ext cx="298557" cy="95338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</a:endParaRPr>
          </a:p>
        </p:txBody>
      </p:sp>
      <p:sp>
        <p:nvSpPr>
          <p:cNvPr id="18" name="TextBox 47">
            <a:extLst>
              <a:ext uri="{FF2B5EF4-FFF2-40B4-BE49-F238E27FC236}">
                <a16:creationId xmlns:a16="http://schemas.microsoft.com/office/drawing/2014/main" id="{F39DF101-F2AE-4977-4996-9750E6AB3D02}"/>
              </a:ext>
            </a:extLst>
          </p:cNvPr>
          <p:cNvSpPr txBox="1"/>
          <p:nvPr userDrawn="1"/>
        </p:nvSpPr>
        <p:spPr>
          <a:xfrm>
            <a:off x="10495423" y="4681133"/>
            <a:ext cx="1156401" cy="43730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Jack FAHLER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COO Americas</a:t>
            </a:r>
          </a:p>
        </p:txBody>
      </p:sp>
      <p:sp>
        <p:nvSpPr>
          <p:cNvPr id="19" name="Isosceles Triangle 48">
            <a:extLst>
              <a:ext uri="{FF2B5EF4-FFF2-40B4-BE49-F238E27FC236}">
                <a16:creationId xmlns:a16="http://schemas.microsoft.com/office/drawing/2014/main" id="{838D7A16-BD2B-68F9-A9AD-386CFCD3AD0E}"/>
              </a:ext>
            </a:extLst>
          </p:cNvPr>
          <p:cNvSpPr/>
          <p:nvPr userDrawn="1"/>
        </p:nvSpPr>
        <p:spPr bwMode="auto">
          <a:xfrm flipV="1">
            <a:off x="10924346" y="4569609"/>
            <a:ext cx="298557" cy="95338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</a:endParaRPr>
          </a:p>
        </p:txBody>
      </p:sp>
      <p:sp>
        <p:nvSpPr>
          <p:cNvPr id="21" name="TextBox 51">
            <a:extLst>
              <a:ext uri="{FF2B5EF4-FFF2-40B4-BE49-F238E27FC236}">
                <a16:creationId xmlns:a16="http://schemas.microsoft.com/office/drawing/2014/main" id="{05700EBC-B7F6-BCAC-8291-B81B7B7A4BD0}"/>
              </a:ext>
            </a:extLst>
          </p:cNvPr>
          <p:cNvSpPr txBox="1"/>
          <p:nvPr userDrawn="1"/>
        </p:nvSpPr>
        <p:spPr>
          <a:xfrm>
            <a:off x="347563" y="4681133"/>
            <a:ext cx="1444627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Ilse KENI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Chief Carbon Officer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CEO TECforLime </a:t>
            </a:r>
          </a:p>
        </p:txBody>
      </p:sp>
      <p:sp>
        <p:nvSpPr>
          <p:cNvPr id="22" name="Isosceles Triangle 52">
            <a:extLst>
              <a:ext uri="{FF2B5EF4-FFF2-40B4-BE49-F238E27FC236}">
                <a16:creationId xmlns:a16="http://schemas.microsoft.com/office/drawing/2014/main" id="{9EF31FCC-42AD-2BA7-D6B3-E35C36F7E634}"/>
              </a:ext>
            </a:extLst>
          </p:cNvPr>
          <p:cNvSpPr/>
          <p:nvPr userDrawn="1"/>
        </p:nvSpPr>
        <p:spPr bwMode="auto">
          <a:xfrm flipV="1">
            <a:off x="920597" y="4569609"/>
            <a:ext cx="298557" cy="95338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</a:endParaRPr>
          </a:p>
        </p:txBody>
      </p:sp>
      <p:sp>
        <p:nvSpPr>
          <p:cNvPr id="23" name="Isosceles Triangle 40">
            <a:extLst>
              <a:ext uri="{FF2B5EF4-FFF2-40B4-BE49-F238E27FC236}">
                <a16:creationId xmlns:a16="http://schemas.microsoft.com/office/drawing/2014/main" id="{FEE155B7-8E53-1004-34D6-12B5D22BB0A7}"/>
              </a:ext>
            </a:extLst>
          </p:cNvPr>
          <p:cNvSpPr/>
          <p:nvPr userDrawn="1"/>
        </p:nvSpPr>
        <p:spPr bwMode="auto">
          <a:xfrm flipV="1">
            <a:off x="5959639" y="4569609"/>
            <a:ext cx="298557" cy="95338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</a:endParaRP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7630B3CD-1CB1-311F-3784-F5E47D51747A}"/>
              </a:ext>
            </a:extLst>
          </p:cNvPr>
          <p:cNvGrpSpPr/>
          <p:nvPr userDrawn="1"/>
        </p:nvGrpSpPr>
        <p:grpSpPr>
          <a:xfrm>
            <a:off x="5300309" y="2396412"/>
            <a:ext cx="1548466" cy="2009956"/>
            <a:chOff x="4986059" y="1520886"/>
            <a:chExt cx="1548466" cy="200995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42A7AF-0F6A-578F-7372-A337001B0BCC}"/>
                </a:ext>
              </a:extLst>
            </p:cNvPr>
            <p:cNvSpPr/>
            <p:nvPr userDrawn="1"/>
          </p:nvSpPr>
          <p:spPr>
            <a:xfrm>
              <a:off x="4986059" y="1520886"/>
              <a:ext cx="1548209" cy="200312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/>
            </a:p>
          </p:txBody>
        </p:sp>
        <p:pic>
          <p:nvPicPr>
            <p:cNvPr id="26" name="Picture 53" descr="A group of people posing for a photo&#10;&#10;Description automatically generated with medium confidence">
              <a:extLst>
                <a:ext uri="{FF2B5EF4-FFF2-40B4-BE49-F238E27FC236}">
                  <a16:creationId xmlns:a16="http://schemas.microsoft.com/office/drawing/2014/main" id="{CE3130AF-DC75-3183-88B8-28E0F13C84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986316" y="1520886"/>
              <a:ext cx="1548209" cy="2009956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66AB38A4-117D-62E1-53AD-D50B338E7FD0}"/>
              </a:ext>
            </a:extLst>
          </p:cNvPr>
          <p:cNvGrpSpPr/>
          <p:nvPr userDrawn="1"/>
        </p:nvGrpSpPr>
        <p:grpSpPr>
          <a:xfrm>
            <a:off x="6985934" y="2396412"/>
            <a:ext cx="1548209" cy="2009956"/>
            <a:chOff x="8323730" y="1514056"/>
            <a:chExt cx="1548209" cy="2009956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AC5D637-74E3-5215-3F58-D569272BCDA3}"/>
                </a:ext>
              </a:extLst>
            </p:cNvPr>
            <p:cNvSpPr/>
            <p:nvPr userDrawn="1"/>
          </p:nvSpPr>
          <p:spPr>
            <a:xfrm>
              <a:off x="8323730" y="1520886"/>
              <a:ext cx="1548209" cy="200312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/>
            </a:p>
          </p:txBody>
        </p:sp>
        <p:pic>
          <p:nvPicPr>
            <p:cNvPr id="43" name="Picture 53" descr="A group of people posing for a photo&#10;&#10;Description automatically generated with medium confidence">
              <a:extLst>
                <a:ext uri="{FF2B5EF4-FFF2-40B4-BE49-F238E27FC236}">
                  <a16:creationId xmlns:a16="http://schemas.microsoft.com/office/drawing/2014/main" id="{F4848857-5F4A-6569-85FF-0F070373824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517603" y="1514056"/>
              <a:ext cx="1354336" cy="2009956"/>
            </a:xfrm>
            <a:prstGeom prst="rect">
              <a:avLst/>
            </a:prstGeom>
          </p:spPr>
        </p:pic>
      </p:grpSp>
      <p:grpSp>
        <p:nvGrpSpPr>
          <p:cNvPr id="44" name="Groupe 43">
            <a:extLst>
              <a:ext uri="{FF2B5EF4-FFF2-40B4-BE49-F238E27FC236}">
                <a16:creationId xmlns:a16="http://schemas.microsoft.com/office/drawing/2014/main" id="{505257AC-6CD2-3B2F-6B09-D9D5FB53F709}"/>
              </a:ext>
            </a:extLst>
          </p:cNvPr>
          <p:cNvGrpSpPr/>
          <p:nvPr userDrawn="1"/>
        </p:nvGrpSpPr>
        <p:grpSpPr>
          <a:xfrm>
            <a:off x="244075" y="2403242"/>
            <a:ext cx="1548209" cy="2003126"/>
            <a:chOff x="40251" y="1520886"/>
            <a:chExt cx="1548209" cy="2003126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8E5B50E7-AD5D-7317-9B13-9DBF492C5E93}"/>
                </a:ext>
              </a:extLst>
            </p:cNvPr>
            <p:cNvSpPr/>
            <p:nvPr userDrawn="1"/>
          </p:nvSpPr>
          <p:spPr>
            <a:xfrm>
              <a:off x="40251" y="1520886"/>
              <a:ext cx="1548209" cy="200312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/>
            </a:p>
          </p:txBody>
        </p:sp>
        <p:pic>
          <p:nvPicPr>
            <p:cNvPr id="46" name="Image 45">
              <a:extLst>
                <a:ext uri="{FF2B5EF4-FFF2-40B4-BE49-F238E27FC236}">
                  <a16:creationId xmlns:a16="http://schemas.microsoft.com/office/drawing/2014/main" id="{83C0C6F3-E666-3E67-374B-B19E745FBA6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251" y="1555051"/>
              <a:ext cx="1490657" cy="1968961"/>
            </a:xfrm>
            <a:prstGeom prst="rect">
              <a:avLst/>
            </a:prstGeom>
          </p:spPr>
        </p:pic>
      </p:grpSp>
      <p:sp>
        <p:nvSpPr>
          <p:cNvPr id="47" name="Isosceles Triangle 39">
            <a:extLst>
              <a:ext uri="{FF2B5EF4-FFF2-40B4-BE49-F238E27FC236}">
                <a16:creationId xmlns:a16="http://schemas.microsoft.com/office/drawing/2014/main" id="{2480EEE9-061C-1A74-706D-AB173809443C}"/>
              </a:ext>
            </a:extLst>
          </p:cNvPr>
          <p:cNvSpPr/>
          <p:nvPr userDrawn="1"/>
        </p:nvSpPr>
        <p:spPr bwMode="auto">
          <a:xfrm flipV="1">
            <a:off x="4193889" y="4569609"/>
            <a:ext cx="298557" cy="95338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</a:endParaRPr>
          </a:p>
        </p:txBody>
      </p:sp>
      <p:grpSp>
        <p:nvGrpSpPr>
          <p:cNvPr id="48" name="Groupe 47">
            <a:extLst>
              <a:ext uri="{FF2B5EF4-FFF2-40B4-BE49-F238E27FC236}">
                <a16:creationId xmlns:a16="http://schemas.microsoft.com/office/drawing/2014/main" id="{30896D0D-1340-4497-8492-0808F9F3BCA4}"/>
              </a:ext>
            </a:extLst>
          </p:cNvPr>
          <p:cNvGrpSpPr/>
          <p:nvPr userDrawn="1"/>
        </p:nvGrpSpPr>
        <p:grpSpPr>
          <a:xfrm>
            <a:off x="1929443" y="2396412"/>
            <a:ext cx="1548338" cy="2009956"/>
            <a:chOff x="3281081" y="1514056"/>
            <a:chExt cx="1548338" cy="2009956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BCF8F004-D6B6-9945-96E6-D7B629A5FAD4}"/>
                </a:ext>
              </a:extLst>
            </p:cNvPr>
            <p:cNvSpPr/>
            <p:nvPr userDrawn="1"/>
          </p:nvSpPr>
          <p:spPr>
            <a:xfrm>
              <a:off x="3281081" y="1520886"/>
              <a:ext cx="1548209" cy="200312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/>
            </a:p>
          </p:txBody>
        </p:sp>
        <p:pic>
          <p:nvPicPr>
            <p:cNvPr id="50" name="Picture 53" descr="A group of people posing for a photo&#10;&#10;Description automatically generated with medium confidence">
              <a:extLst>
                <a:ext uri="{FF2B5EF4-FFF2-40B4-BE49-F238E27FC236}">
                  <a16:creationId xmlns:a16="http://schemas.microsoft.com/office/drawing/2014/main" id="{3564BED5-EC39-6B69-0934-3CD1E72B72D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59893" y="1514056"/>
              <a:ext cx="1369526" cy="2009956"/>
            </a:xfrm>
            <a:prstGeom prst="rect">
              <a:avLst/>
            </a:prstGeom>
          </p:spPr>
        </p:pic>
      </p:grp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7458B864-7BD9-20A2-A3CE-0039AC9084EF}"/>
              </a:ext>
            </a:extLst>
          </p:cNvPr>
          <p:cNvGrpSpPr/>
          <p:nvPr userDrawn="1"/>
        </p:nvGrpSpPr>
        <p:grpSpPr>
          <a:xfrm>
            <a:off x="3614940" y="2403242"/>
            <a:ext cx="1548210" cy="2003126"/>
            <a:chOff x="1615285" y="1520886"/>
            <a:chExt cx="1548210" cy="2003126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1BECE7A5-DB77-7727-8272-3E504596A886}"/>
                </a:ext>
              </a:extLst>
            </p:cNvPr>
            <p:cNvSpPr/>
            <p:nvPr userDrawn="1"/>
          </p:nvSpPr>
          <p:spPr>
            <a:xfrm>
              <a:off x="1615285" y="1520886"/>
              <a:ext cx="1548209" cy="200312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/>
            </a:p>
          </p:txBody>
        </p:sp>
        <p:pic>
          <p:nvPicPr>
            <p:cNvPr id="53" name="Image 52">
              <a:extLst>
                <a:ext uri="{FF2B5EF4-FFF2-40B4-BE49-F238E27FC236}">
                  <a16:creationId xmlns:a16="http://schemas.microsoft.com/office/drawing/2014/main" id="{0A21BF44-0422-DFFB-E379-4E53B17D1DD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15285" y="1658553"/>
              <a:ext cx="1548210" cy="1865459"/>
            </a:xfrm>
            <a:prstGeom prst="rect">
              <a:avLst/>
            </a:prstGeom>
          </p:spPr>
        </p:pic>
      </p:grpSp>
      <p:grpSp>
        <p:nvGrpSpPr>
          <p:cNvPr id="54" name="Groupe 53">
            <a:extLst>
              <a:ext uri="{FF2B5EF4-FFF2-40B4-BE49-F238E27FC236}">
                <a16:creationId xmlns:a16="http://schemas.microsoft.com/office/drawing/2014/main" id="{C0601535-C63F-3C25-9220-8FDDF375BF41}"/>
              </a:ext>
            </a:extLst>
          </p:cNvPr>
          <p:cNvGrpSpPr/>
          <p:nvPr userDrawn="1"/>
        </p:nvGrpSpPr>
        <p:grpSpPr>
          <a:xfrm>
            <a:off x="10356668" y="2396412"/>
            <a:ext cx="1548210" cy="2009956"/>
            <a:chOff x="10207390" y="1520886"/>
            <a:chExt cx="1548210" cy="2009956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383B362E-E910-F03A-79C8-5FD2CCD1EFA2}"/>
                </a:ext>
              </a:extLst>
            </p:cNvPr>
            <p:cNvSpPr/>
            <p:nvPr userDrawn="1"/>
          </p:nvSpPr>
          <p:spPr>
            <a:xfrm>
              <a:off x="10207391" y="1520886"/>
              <a:ext cx="1548209" cy="200312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 b="1"/>
            </a:p>
          </p:txBody>
        </p:sp>
        <p:pic>
          <p:nvPicPr>
            <p:cNvPr id="56" name="Picture 53" descr="A group of people posing for a photo&#10;&#10;Description automatically generated with medium confidence">
              <a:extLst>
                <a:ext uri="{FF2B5EF4-FFF2-40B4-BE49-F238E27FC236}">
                  <a16:creationId xmlns:a16="http://schemas.microsoft.com/office/drawing/2014/main" id="{0F6948F9-7EF0-977B-370E-611639F8D62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207391" y="1520886"/>
              <a:ext cx="1548209" cy="2009956"/>
            </a:xfrm>
            <a:prstGeom prst="rect">
              <a:avLst/>
            </a:prstGeom>
          </p:spPr>
        </p:pic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1EBA05C9-F118-1D5A-7E93-CC19640D98DD}"/>
                </a:ext>
              </a:extLst>
            </p:cNvPr>
            <p:cNvSpPr/>
            <p:nvPr userDrawn="1"/>
          </p:nvSpPr>
          <p:spPr>
            <a:xfrm>
              <a:off x="10207390" y="2845594"/>
              <a:ext cx="227988" cy="685247"/>
            </a:xfrm>
            <a:custGeom>
              <a:avLst/>
              <a:gdLst>
                <a:gd name="connsiteX0" fmla="*/ 0 w 230981"/>
                <a:gd name="connsiteY0" fmla="*/ 0 h 533400"/>
                <a:gd name="connsiteX1" fmla="*/ 0 w 230981"/>
                <a:gd name="connsiteY1" fmla="*/ 533400 h 533400"/>
                <a:gd name="connsiteX2" fmla="*/ 164306 w 230981"/>
                <a:gd name="connsiteY2" fmla="*/ 533400 h 533400"/>
                <a:gd name="connsiteX3" fmla="*/ 230981 w 230981"/>
                <a:gd name="connsiteY3" fmla="*/ 350044 h 533400"/>
                <a:gd name="connsiteX4" fmla="*/ 173831 w 230981"/>
                <a:gd name="connsiteY4" fmla="*/ 185738 h 533400"/>
                <a:gd name="connsiteX5" fmla="*/ 0 w 230981"/>
                <a:gd name="connsiteY5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981" h="533400">
                  <a:moveTo>
                    <a:pt x="0" y="0"/>
                  </a:moveTo>
                  <a:lnTo>
                    <a:pt x="0" y="533400"/>
                  </a:lnTo>
                  <a:lnTo>
                    <a:pt x="164306" y="533400"/>
                  </a:lnTo>
                  <a:lnTo>
                    <a:pt x="230981" y="350044"/>
                  </a:lnTo>
                  <a:lnTo>
                    <a:pt x="173831" y="1857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BE" b="1"/>
            </a:p>
          </p:txBody>
        </p:sp>
      </p:grpSp>
      <p:grpSp>
        <p:nvGrpSpPr>
          <p:cNvPr id="58" name="Groupe 57">
            <a:extLst>
              <a:ext uri="{FF2B5EF4-FFF2-40B4-BE49-F238E27FC236}">
                <a16:creationId xmlns:a16="http://schemas.microsoft.com/office/drawing/2014/main" id="{A5BD13D5-B37D-194B-AE20-BAF7E05319FD}"/>
              </a:ext>
            </a:extLst>
          </p:cNvPr>
          <p:cNvGrpSpPr/>
          <p:nvPr userDrawn="1"/>
        </p:nvGrpSpPr>
        <p:grpSpPr>
          <a:xfrm>
            <a:off x="8671302" y="2396412"/>
            <a:ext cx="1548209" cy="2009956"/>
            <a:chOff x="8671302" y="1467702"/>
            <a:chExt cx="1548209" cy="2009956"/>
          </a:xfrm>
        </p:grpSpPr>
        <p:grpSp>
          <p:nvGrpSpPr>
            <p:cNvPr id="59" name="Groupe 58">
              <a:extLst>
                <a:ext uri="{FF2B5EF4-FFF2-40B4-BE49-F238E27FC236}">
                  <a16:creationId xmlns:a16="http://schemas.microsoft.com/office/drawing/2014/main" id="{E23880B9-28C5-B3A8-A9A7-24BC1D1A3C2A}"/>
                </a:ext>
              </a:extLst>
            </p:cNvPr>
            <p:cNvGrpSpPr/>
            <p:nvPr userDrawn="1"/>
          </p:nvGrpSpPr>
          <p:grpSpPr>
            <a:xfrm>
              <a:off x="8671302" y="1467702"/>
              <a:ext cx="1548209" cy="2009956"/>
              <a:chOff x="6619283" y="1514056"/>
              <a:chExt cx="1548209" cy="2009956"/>
            </a:xfrm>
          </p:grpSpPr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5DB84560-1E8C-DD15-00F9-D8BA86493B1A}"/>
                  </a:ext>
                </a:extLst>
              </p:cNvPr>
              <p:cNvSpPr/>
              <p:nvPr userDrawn="1"/>
            </p:nvSpPr>
            <p:spPr>
              <a:xfrm>
                <a:off x="6619283" y="1520886"/>
                <a:ext cx="1548209" cy="200312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en-BE" dirty="0"/>
              </a:p>
            </p:txBody>
          </p:sp>
          <p:pic>
            <p:nvPicPr>
              <p:cNvPr id="62" name="Picture 53" descr="A group of people posing for a photo&#10;&#10;Description automatically generated with medium confidence">
                <a:extLst>
                  <a:ext uri="{FF2B5EF4-FFF2-40B4-BE49-F238E27FC236}">
                    <a16:creationId xmlns:a16="http://schemas.microsoft.com/office/drawing/2014/main" id="{082CAFCB-D293-AA8D-33ED-660273FCA6B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691294" y="1514056"/>
                <a:ext cx="1475924" cy="2009956"/>
              </a:xfrm>
              <a:prstGeom prst="rect">
                <a:avLst/>
              </a:prstGeom>
            </p:spPr>
          </p:pic>
        </p:grp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C2018859-A907-A785-6E8D-76A5FBB96EF3}"/>
                </a:ext>
              </a:extLst>
            </p:cNvPr>
            <p:cNvSpPr/>
            <p:nvPr userDrawn="1"/>
          </p:nvSpPr>
          <p:spPr>
            <a:xfrm>
              <a:off x="8672514" y="3186112"/>
              <a:ext cx="157162" cy="291545"/>
            </a:xfrm>
            <a:custGeom>
              <a:avLst/>
              <a:gdLst>
                <a:gd name="connsiteX0" fmla="*/ 0 w 166687"/>
                <a:gd name="connsiteY0" fmla="*/ 0 h 285750"/>
                <a:gd name="connsiteX1" fmla="*/ 0 w 166687"/>
                <a:gd name="connsiteY1" fmla="*/ 285750 h 285750"/>
                <a:gd name="connsiteX2" fmla="*/ 166687 w 166687"/>
                <a:gd name="connsiteY2" fmla="*/ 285750 h 285750"/>
                <a:gd name="connsiteX3" fmla="*/ 123825 w 166687"/>
                <a:gd name="connsiteY3" fmla="*/ 114300 h 285750"/>
                <a:gd name="connsiteX4" fmla="*/ 0 w 166687"/>
                <a:gd name="connsiteY4" fmla="*/ 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687" h="285750">
                  <a:moveTo>
                    <a:pt x="0" y="0"/>
                  </a:moveTo>
                  <a:lnTo>
                    <a:pt x="0" y="285750"/>
                  </a:lnTo>
                  <a:lnTo>
                    <a:pt x="166687" y="285750"/>
                  </a:lnTo>
                  <a:lnTo>
                    <a:pt x="123825" y="1143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BE"/>
            </a:p>
          </p:txBody>
        </p:sp>
      </p:grpSp>
    </p:spTree>
    <p:extLst>
      <p:ext uri="{BB962C8B-B14F-4D97-AF65-F5344CB8AC3E}">
        <p14:creationId xmlns:p14="http://schemas.microsoft.com/office/powerpoint/2010/main" val="598382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7421" y="0"/>
            <a:ext cx="12209422" cy="6858000"/>
          </a:xfrm>
          <a:prstGeom prst="rect">
            <a:avLst/>
          </a:prstGeom>
          <a:gradFill>
            <a:gsLst>
              <a:gs pos="100000">
                <a:schemeClr val="tx2"/>
              </a:gs>
              <a:gs pos="37000">
                <a:schemeClr val="tx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id-ID" sz="2400">
              <a:solidFill>
                <a:schemeClr val="tx1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4095750" y="2815451"/>
            <a:ext cx="497001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200" dirty="0">
                <a:solidFill>
                  <a:srgbClr val="FFFFFF"/>
                </a:solidFill>
                <a:latin typeface="DIN Offc Medium" panose="020B0604020101020102" pitchFamily="34" charset="0"/>
              </a:rPr>
              <a:t>CARMEUSE</a:t>
            </a:r>
            <a:endParaRPr lang="id-ID" sz="7200" dirty="0">
              <a:solidFill>
                <a:srgbClr val="FFFFFF"/>
              </a:solidFill>
              <a:latin typeface="DIN Offc Medium" panose="020B0604020101020102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4149090" y="3900735"/>
            <a:ext cx="30253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FFFF"/>
                </a:solidFill>
                <a:latin typeface="DIN Offc" panose="020B0504020101020102" pitchFamily="34" charset="0"/>
              </a:rPr>
              <a:t>IMPACTING</a:t>
            </a:r>
            <a:r>
              <a:rPr lang="en-US" dirty="0">
                <a:solidFill>
                  <a:srgbClr val="FFFFFF"/>
                </a:solidFill>
                <a:latin typeface="DIN Offc" panose="020B0504020101020102" pitchFamily="34" charset="0"/>
              </a:rPr>
              <a:t> EVERYDAY</a:t>
            </a:r>
            <a:r>
              <a:rPr lang="en-US" baseline="0" dirty="0">
                <a:solidFill>
                  <a:srgbClr val="FFFFFF"/>
                </a:solidFill>
                <a:latin typeface="DIN Offc" panose="020B0504020101020102" pitchFamily="34" charset="0"/>
              </a:rPr>
              <a:t> LIFE</a:t>
            </a:r>
            <a:endParaRPr lang="id-ID" dirty="0">
              <a:solidFill>
                <a:srgbClr val="FFFFFF"/>
              </a:solidFill>
              <a:latin typeface="DIN Offc" panose="020B0504020101020102" pitchFamily="34" charset="0"/>
            </a:endParaRPr>
          </a:p>
        </p:txBody>
      </p:sp>
      <p:sp>
        <p:nvSpPr>
          <p:cNvPr id="5" name="Freeform 4"/>
          <p:cNvSpPr/>
          <p:nvPr userDrawn="1"/>
        </p:nvSpPr>
        <p:spPr bwMode="auto">
          <a:xfrm>
            <a:off x="3155333" y="2072640"/>
            <a:ext cx="2997818" cy="2851682"/>
          </a:xfrm>
          <a:custGeom>
            <a:avLst/>
            <a:gdLst>
              <a:gd name="connsiteX0" fmla="*/ 1343025 w 1347788"/>
              <a:gd name="connsiteY0" fmla="*/ 552450 h 1743075"/>
              <a:gd name="connsiteX1" fmla="*/ 1343025 w 1347788"/>
              <a:gd name="connsiteY1" fmla="*/ 0 h 1743075"/>
              <a:gd name="connsiteX2" fmla="*/ 0 w 1347788"/>
              <a:gd name="connsiteY2" fmla="*/ 0 h 1743075"/>
              <a:gd name="connsiteX3" fmla="*/ 0 w 1347788"/>
              <a:gd name="connsiteY3" fmla="*/ 1743075 h 1743075"/>
              <a:gd name="connsiteX4" fmla="*/ 1347788 w 1347788"/>
              <a:gd name="connsiteY4" fmla="*/ 1743075 h 1743075"/>
              <a:gd name="connsiteX5" fmla="*/ 1347788 w 1347788"/>
              <a:gd name="connsiteY5" fmla="*/ 1271587 h 1743075"/>
              <a:gd name="connsiteX0" fmla="*/ 1339661 w 1347788"/>
              <a:gd name="connsiteY0" fmla="*/ 341288 h 1743075"/>
              <a:gd name="connsiteX1" fmla="*/ 1343025 w 1347788"/>
              <a:gd name="connsiteY1" fmla="*/ 0 h 1743075"/>
              <a:gd name="connsiteX2" fmla="*/ 0 w 1347788"/>
              <a:gd name="connsiteY2" fmla="*/ 0 h 1743075"/>
              <a:gd name="connsiteX3" fmla="*/ 0 w 1347788"/>
              <a:gd name="connsiteY3" fmla="*/ 1743075 h 1743075"/>
              <a:gd name="connsiteX4" fmla="*/ 1347788 w 1347788"/>
              <a:gd name="connsiteY4" fmla="*/ 1743075 h 1743075"/>
              <a:gd name="connsiteX5" fmla="*/ 1347788 w 1347788"/>
              <a:gd name="connsiteY5" fmla="*/ 1271587 h 1743075"/>
              <a:gd name="connsiteX0" fmla="*/ 1339661 w 1347788"/>
              <a:gd name="connsiteY0" fmla="*/ 410395 h 1743075"/>
              <a:gd name="connsiteX1" fmla="*/ 1343025 w 1347788"/>
              <a:gd name="connsiteY1" fmla="*/ 0 h 1743075"/>
              <a:gd name="connsiteX2" fmla="*/ 0 w 1347788"/>
              <a:gd name="connsiteY2" fmla="*/ 0 h 1743075"/>
              <a:gd name="connsiteX3" fmla="*/ 0 w 1347788"/>
              <a:gd name="connsiteY3" fmla="*/ 1743075 h 1743075"/>
              <a:gd name="connsiteX4" fmla="*/ 1347788 w 1347788"/>
              <a:gd name="connsiteY4" fmla="*/ 1743075 h 1743075"/>
              <a:gd name="connsiteX5" fmla="*/ 1347788 w 1347788"/>
              <a:gd name="connsiteY5" fmla="*/ 1271587 h 1743075"/>
              <a:gd name="connsiteX0" fmla="*/ 1339661 w 1347788"/>
              <a:gd name="connsiteY0" fmla="*/ 410395 h 1743075"/>
              <a:gd name="connsiteX1" fmla="*/ 1343025 w 1347788"/>
              <a:gd name="connsiteY1" fmla="*/ 0 h 1743075"/>
              <a:gd name="connsiteX2" fmla="*/ 0 w 1347788"/>
              <a:gd name="connsiteY2" fmla="*/ 0 h 1743075"/>
              <a:gd name="connsiteX3" fmla="*/ 0 w 1347788"/>
              <a:gd name="connsiteY3" fmla="*/ 1743075 h 1743075"/>
              <a:gd name="connsiteX4" fmla="*/ 1347788 w 1347788"/>
              <a:gd name="connsiteY4" fmla="*/ 1743075 h 1743075"/>
              <a:gd name="connsiteX5" fmla="*/ 1347788 w 1347788"/>
              <a:gd name="connsiteY5" fmla="*/ 1455876 h 1743075"/>
              <a:gd name="connsiteX0" fmla="*/ 1343087 w 1347788"/>
              <a:gd name="connsiteY0" fmla="*/ 363818 h 1743075"/>
              <a:gd name="connsiteX1" fmla="*/ 1343025 w 1347788"/>
              <a:gd name="connsiteY1" fmla="*/ 0 h 1743075"/>
              <a:gd name="connsiteX2" fmla="*/ 0 w 1347788"/>
              <a:gd name="connsiteY2" fmla="*/ 0 h 1743075"/>
              <a:gd name="connsiteX3" fmla="*/ 0 w 1347788"/>
              <a:gd name="connsiteY3" fmla="*/ 1743075 h 1743075"/>
              <a:gd name="connsiteX4" fmla="*/ 1347788 w 1347788"/>
              <a:gd name="connsiteY4" fmla="*/ 1743075 h 1743075"/>
              <a:gd name="connsiteX5" fmla="*/ 1347788 w 1347788"/>
              <a:gd name="connsiteY5" fmla="*/ 1455876 h 1743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47788" h="1743075">
                <a:moveTo>
                  <a:pt x="1343087" y="363818"/>
                </a:moveTo>
                <a:cubicBezTo>
                  <a:pt x="1344208" y="250055"/>
                  <a:pt x="1341904" y="113763"/>
                  <a:pt x="1343025" y="0"/>
                </a:cubicBezTo>
                <a:lnTo>
                  <a:pt x="0" y="0"/>
                </a:lnTo>
                <a:lnTo>
                  <a:pt x="0" y="1743075"/>
                </a:lnTo>
                <a:lnTo>
                  <a:pt x="1347788" y="1743075"/>
                </a:lnTo>
                <a:lnTo>
                  <a:pt x="1347788" y="1455876"/>
                </a:lnTo>
              </a:path>
            </a:pathLst>
          </a:custGeom>
          <a:noFill/>
          <a:ln w="1111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fr-BE" sz="240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3115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86211" y="1924050"/>
            <a:ext cx="10540590" cy="4286249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>
                <a:solidFill>
                  <a:schemeClr val="accent4"/>
                </a:solidFill>
              </a:defRPr>
            </a:lvl1pPr>
            <a:lvl2pPr marL="685800" indent="-228600">
              <a:buFont typeface="Wingdings" panose="05000000000000000000" pitchFamily="2" charset="2"/>
              <a:buChar char="§"/>
              <a:defRPr>
                <a:solidFill>
                  <a:schemeClr val="accent4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>
                <a:solidFill>
                  <a:schemeClr val="accent4"/>
                </a:solidFill>
              </a:defRPr>
            </a:lvl3pPr>
            <a:lvl4pPr marL="1600200" indent="-228600">
              <a:buFont typeface="Wingdings" panose="05000000000000000000" pitchFamily="2" charset="2"/>
              <a:buChar char="§"/>
              <a:defRPr>
                <a:solidFill>
                  <a:schemeClr val="accent4"/>
                </a:solidFill>
              </a:defRPr>
            </a:lvl4pPr>
            <a:lvl5pPr marL="2057400" indent="-228600">
              <a:buFont typeface="Wingdings" panose="05000000000000000000" pitchFamily="2" charset="2"/>
              <a:buChar char="§"/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>
          <a:xfrm>
            <a:off x="171451" y="17211"/>
            <a:ext cx="11537949" cy="338651"/>
          </a:xfrm>
          <a:prstGeom prst="rect">
            <a:avLst/>
          </a:prstGeom>
          <a:noFill/>
        </p:spPr>
        <p:txBody>
          <a:bodyPr lIns="91440" tIns="0" rIns="0" bIns="0" anchor="ctr" anchorCtr="0">
            <a:normAutofit/>
          </a:bodyPr>
          <a:lstStyle>
            <a:lvl1pPr marL="0" indent="0" algn="l">
              <a:buNone/>
              <a:defRPr sz="1600" b="0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  <a:endParaRPr lang="fr-BE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6210" y="1203734"/>
            <a:ext cx="10540590" cy="38624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686210" y="676811"/>
            <a:ext cx="10540590" cy="523220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02804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6210" y="1203734"/>
            <a:ext cx="10540590" cy="38624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686210" y="676811"/>
            <a:ext cx="10540590" cy="523220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86211" y="1924050"/>
            <a:ext cx="10540590" cy="42862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2400">
                <a:solidFill>
                  <a:schemeClr val="accent4"/>
                </a:solidFill>
              </a:defRPr>
            </a:lvl1pPr>
            <a:lvl2pPr marL="230188" indent="0">
              <a:buFont typeface="Wingdings" panose="05000000000000000000" pitchFamily="2" charset="2"/>
              <a:buNone/>
              <a:defRPr sz="2000">
                <a:solidFill>
                  <a:schemeClr val="accent2"/>
                </a:solidFill>
              </a:defRPr>
            </a:lvl2pPr>
            <a:lvl3pPr marL="461963" indent="0">
              <a:buFont typeface="Wingdings" panose="05000000000000000000" pitchFamily="2" charset="2"/>
              <a:buNone/>
              <a:defRPr sz="1800">
                <a:solidFill>
                  <a:schemeClr val="accent2"/>
                </a:solidFill>
              </a:defRPr>
            </a:lvl3pPr>
            <a:lvl4pPr marL="684212" indent="0">
              <a:buFont typeface="Wingdings" panose="05000000000000000000" pitchFamily="2" charset="2"/>
              <a:buNone/>
              <a:defRPr sz="1600">
                <a:solidFill>
                  <a:schemeClr val="accent2"/>
                </a:solidFill>
              </a:defRPr>
            </a:lvl4pPr>
            <a:lvl5pPr marL="914400" indent="0">
              <a:buFont typeface="Wingdings" panose="05000000000000000000" pitchFamily="2" charset="2"/>
              <a:buNone/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28035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772816"/>
            <a:ext cx="12192000" cy="3456409"/>
          </a:xfrm>
        </p:spPr>
        <p:txBody>
          <a:bodyPr lIns="720000" tIns="503999" rIns="720000" bIns="360000" anchor="t"/>
          <a:lstStyle>
            <a:lvl1pPr algn="ctr">
              <a:defRPr sz="6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5229225"/>
            <a:ext cx="12192000" cy="1628775"/>
          </a:xfrm>
          <a:solidFill>
            <a:schemeClr val="bg1"/>
          </a:solidFill>
        </p:spPr>
        <p:txBody>
          <a:bodyPr lIns="720000" tIns="360000" rIns="720000" bIns="360000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EB06CA-C001-D644-B04A-339BF8E59C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7381" y="245493"/>
            <a:ext cx="1752195" cy="1355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029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117">
          <p15:clr>
            <a:srgbClr val="FBAE40"/>
          </p15:clr>
        </p15:guide>
        <p15:guide id="3" orient="horz" pos="329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0416480" cy="9080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371" y="1052736"/>
            <a:ext cx="5588429" cy="53285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052736"/>
            <a:ext cx="5588429" cy="53285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6 October 2020</a:t>
            </a:r>
            <a:endParaRPr lang="pl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41A2F3-022E-9844-B3E5-5A080C0A0C75}" type="slidenum">
              <a:rPr lang="pl-PL" smtClean="0"/>
              <a:t>‹#›</a:t>
            </a:fld>
            <a:endParaRPr lang="pl-PL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9D2002-77F4-CB44-893B-D5C8AF3F511A}"/>
              </a:ext>
            </a:extLst>
          </p:cNvPr>
          <p:cNvSpPr/>
          <p:nvPr userDrawn="1"/>
        </p:nvSpPr>
        <p:spPr>
          <a:xfrm>
            <a:off x="10416480" y="0"/>
            <a:ext cx="1775520" cy="9080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DA8B24C-0274-3C47-BE47-5109AD3A1A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06601" y="116633"/>
            <a:ext cx="1012800" cy="69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7386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74431" y="0"/>
            <a:ext cx="10417569" cy="9080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7435" y="1196752"/>
            <a:ext cx="10081120" cy="5184576"/>
          </a:xfrm>
        </p:spPr>
        <p:txBody>
          <a:bodyPr/>
          <a:lstStyle>
            <a:lvl1pPr>
              <a:spcAft>
                <a:spcPts val="1000"/>
              </a:spcAft>
              <a:buClr>
                <a:schemeClr val="tx2"/>
              </a:buCl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6 October 2020</a:t>
            </a:r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41A2F3-022E-9844-B3E5-5A080C0A0C75}" type="slidenum">
              <a:rPr lang="pl-PL" smtClean="0"/>
              <a:t>‹#›</a:t>
            </a:fld>
            <a:endParaRPr lang="pl-PL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026CE-C6CB-2340-98E1-04CB357F8B12}"/>
              </a:ext>
            </a:extLst>
          </p:cNvPr>
          <p:cNvSpPr/>
          <p:nvPr userDrawn="1"/>
        </p:nvSpPr>
        <p:spPr>
          <a:xfrm>
            <a:off x="0" y="0"/>
            <a:ext cx="1775520" cy="9080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l-PL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F351C11-FF34-C54F-AB24-ABDEDE0CFD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5144" y="116633"/>
            <a:ext cx="802291" cy="69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6077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A Left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533400"/>
            <a:ext cx="5734050" cy="5791200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49288" y="2320925"/>
            <a:ext cx="4433887" cy="22209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 rot="5400000" flipH="1">
            <a:off x="439219" y="2124260"/>
            <a:ext cx="772024" cy="767631"/>
          </a:xfrm>
          <a:custGeom>
            <a:avLst/>
            <a:gdLst>
              <a:gd name="connsiteX0" fmla="*/ 772024 w 772024"/>
              <a:gd name="connsiteY0" fmla="*/ 767631 h 767631"/>
              <a:gd name="connsiteX1" fmla="*/ 772024 w 772024"/>
              <a:gd name="connsiteY1" fmla="*/ 0 h 767631"/>
              <a:gd name="connsiteX2" fmla="*/ 708436 w 772024"/>
              <a:gd name="connsiteY2" fmla="*/ 0 h 767631"/>
              <a:gd name="connsiteX3" fmla="*/ 708436 w 772024"/>
              <a:gd name="connsiteY3" fmla="*/ 704042 h 767631"/>
              <a:gd name="connsiteX4" fmla="*/ 0 w 772024"/>
              <a:gd name="connsiteY4" fmla="*/ 704043 h 767631"/>
              <a:gd name="connsiteX5" fmla="*/ 0 w 772024"/>
              <a:gd name="connsiteY5" fmla="*/ 767631 h 767631"/>
              <a:gd name="connsiteX6" fmla="*/ 708436 w 772024"/>
              <a:gd name="connsiteY6" fmla="*/ 767630 h 767631"/>
              <a:gd name="connsiteX7" fmla="*/ 708436 w 772024"/>
              <a:gd name="connsiteY7" fmla="*/ 767631 h 76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024" h="767631">
                <a:moveTo>
                  <a:pt x="772024" y="767631"/>
                </a:moveTo>
                <a:lnTo>
                  <a:pt x="772024" y="0"/>
                </a:lnTo>
                <a:lnTo>
                  <a:pt x="708436" y="0"/>
                </a:lnTo>
                <a:lnTo>
                  <a:pt x="708436" y="704042"/>
                </a:lnTo>
                <a:lnTo>
                  <a:pt x="0" y="704043"/>
                </a:lnTo>
                <a:lnTo>
                  <a:pt x="0" y="767631"/>
                </a:lnTo>
                <a:lnTo>
                  <a:pt x="708436" y="767630"/>
                </a:lnTo>
                <a:lnTo>
                  <a:pt x="708436" y="76763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 flipH="1">
            <a:off x="4523416" y="3963914"/>
            <a:ext cx="767632" cy="772024"/>
          </a:xfrm>
          <a:custGeom>
            <a:avLst/>
            <a:gdLst>
              <a:gd name="connsiteX0" fmla="*/ 63589 w 767632"/>
              <a:gd name="connsiteY0" fmla="*/ 0 h 772024"/>
              <a:gd name="connsiteX1" fmla="*/ 1 w 767632"/>
              <a:gd name="connsiteY1" fmla="*/ 0 h 772024"/>
              <a:gd name="connsiteX2" fmla="*/ 1 w 767632"/>
              <a:gd name="connsiteY2" fmla="*/ 708436 h 772024"/>
              <a:gd name="connsiteX3" fmla="*/ 0 w 767632"/>
              <a:gd name="connsiteY3" fmla="*/ 708436 h 772024"/>
              <a:gd name="connsiteX4" fmla="*/ 0 w 767632"/>
              <a:gd name="connsiteY4" fmla="*/ 772024 h 772024"/>
              <a:gd name="connsiteX5" fmla="*/ 767632 w 767632"/>
              <a:gd name="connsiteY5" fmla="*/ 772024 h 772024"/>
              <a:gd name="connsiteX6" fmla="*/ 767632 w 767632"/>
              <a:gd name="connsiteY6" fmla="*/ 708436 h 772024"/>
              <a:gd name="connsiteX7" fmla="*/ 63589 w 767632"/>
              <a:gd name="connsiteY7" fmla="*/ 708436 h 772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7632" h="772024">
                <a:moveTo>
                  <a:pt x="63589" y="0"/>
                </a:moveTo>
                <a:lnTo>
                  <a:pt x="1" y="0"/>
                </a:lnTo>
                <a:lnTo>
                  <a:pt x="1" y="708436"/>
                </a:lnTo>
                <a:lnTo>
                  <a:pt x="0" y="708436"/>
                </a:lnTo>
                <a:lnTo>
                  <a:pt x="0" y="772024"/>
                </a:lnTo>
                <a:lnTo>
                  <a:pt x="767632" y="772024"/>
                </a:lnTo>
                <a:lnTo>
                  <a:pt x="767632" y="708436"/>
                </a:lnTo>
                <a:lnTo>
                  <a:pt x="63589" y="7084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35159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A Left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533400"/>
            <a:ext cx="5734050" cy="5791200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49288" y="2320925"/>
            <a:ext cx="4433887" cy="22209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 rot="5400000" flipH="1">
            <a:off x="439219" y="2124260"/>
            <a:ext cx="772024" cy="767631"/>
          </a:xfrm>
          <a:custGeom>
            <a:avLst/>
            <a:gdLst>
              <a:gd name="connsiteX0" fmla="*/ 772024 w 772024"/>
              <a:gd name="connsiteY0" fmla="*/ 767631 h 767631"/>
              <a:gd name="connsiteX1" fmla="*/ 772024 w 772024"/>
              <a:gd name="connsiteY1" fmla="*/ 0 h 767631"/>
              <a:gd name="connsiteX2" fmla="*/ 708436 w 772024"/>
              <a:gd name="connsiteY2" fmla="*/ 0 h 767631"/>
              <a:gd name="connsiteX3" fmla="*/ 708436 w 772024"/>
              <a:gd name="connsiteY3" fmla="*/ 704042 h 767631"/>
              <a:gd name="connsiteX4" fmla="*/ 0 w 772024"/>
              <a:gd name="connsiteY4" fmla="*/ 704043 h 767631"/>
              <a:gd name="connsiteX5" fmla="*/ 0 w 772024"/>
              <a:gd name="connsiteY5" fmla="*/ 767631 h 767631"/>
              <a:gd name="connsiteX6" fmla="*/ 708436 w 772024"/>
              <a:gd name="connsiteY6" fmla="*/ 767630 h 767631"/>
              <a:gd name="connsiteX7" fmla="*/ 708436 w 772024"/>
              <a:gd name="connsiteY7" fmla="*/ 767631 h 76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024" h="767631">
                <a:moveTo>
                  <a:pt x="772024" y="767631"/>
                </a:moveTo>
                <a:lnTo>
                  <a:pt x="772024" y="0"/>
                </a:lnTo>
                <a:lnTo>
                  <a:pt x="708436" y="0"/>
                </a:lnTo>
                <a:lnTo>
                  <a:pt x="708436" y="704042"/>
                </a:lnTo>
                <a:lnTo>
                  <a:pt x="0" y="704043"/>
                </a:lnTo>
                <a:lnTo>
                  <a:pt x="0" y="767631"/>
                </a:lnTo>
                <a:lnTo>
                  <a:pt x="708436" y="767630"/>
                </a:lnTo>
                <a:lnTo>
                  <a:pt x="708436" y="76763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 flipH="1">
            <a:off x="4523416" y="3963914"/>
            <a:ext cx="767632" cy="772024"/>
          </a:xfrm>
          <a:custGeom>
            <a:avLst/>
            <a:gdLst>
              <a:gd name="connsiteX0" fmla="*/ 63589 w 767632"/>
              <a:gd name="connsiteY0" fmla="*/ 0 h 772024"/>
              <a:gd name="connsiteX1" fmla="*/ 1 w 767632"/>
              <a:gd name="connsiteY1" fmla="*/ 0 h 772024"/>
              <a:gd name="connsiteX2" fmla="*/ 1 w 767632"/>
              <a:gd name="connsiteY2" fmla="*/ 708436 h 772024"/>
              <a:gd name="connsiteX3" fmla="*/ 0 w 767632"/>
              <a:gd name="connsiteY3" fmla="*/ 708436 h 772024"/>
              <a:gd name="connsiteX4" fmla="*/ 0 w 767632"/>
              <a:gd name="connsiteY4" fmla="*/ 772024 h 772024"/>
              <a:gd name="connsiteX5" fmla="*/ 767632 w 767632"/>
              <a:gd name="connsiteY5" fmla="*/ 772024 h 772024"/>
              <a:gd name="connsiteX6" fmla="*/ 767632 w 767632"/>
              <a:gd name="connsiteY6" fmla="*/ 708436 h 772024"/>
              <a:gd name="connsiteX7" fmla="*/ 63589 w 767632"/>
              <a:gd name="connsiteY7" fmla="*/ 708436 h 772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7632" h="772024">
                <a:moveTo>
                  <a:pt x="63589" y="0"/>
                </a:moveTo>
                <a:lnTo>
                  <a:pt x="1" y="0"/>
                </a:lnTo>
                <a:lnTo>
                  <a:pt x="1" y="708436"/>
                </a:lnTo>
                <a:lnTo>
                  <a:pt x="0" y="708436"/>
                </a:lnTo>
                <a:lnTo>
                  <a:pt x="0" y="772024"/>
                </a:lnTo>
                <a:lnTo>
                  <a:pt x="767632" y="772024"/>
                </a:lnTo>
                <a:lnTo>
                  <a:pt x="767632" y="708436"/>
                </a:lnTo>
                <a:lnTo>
                  <a:pt x="63589" y="7084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59721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A Left blu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533400"/>
            <a:ext cx="5734050" cy="57912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49288" y="2320925"/>
            <a:ext cx="4433887" cy="22209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 rot="5400000" flipH="1">
            <a:off x="439219" y="2124260"/>
            <a:ext cx="772024" cy="767631"/>
          </a:xfrm>
          <a:custGeom>
            <a:avLst/>
            <a:gdLst>
              <a:gd name="connsiteX0" fmla="*/ 772024 w 772024"/>
              <a:gd name="connsiteY0" fmla="*/ 767631 h 767631"/>
              <a:gd name="connsiteX1" fmla="*/ 772024 w 772024"/>
              <a:gd name="connsiteY1" fmla="*/ 0 h 767631"/>
              <a:gd name="connsiteX2" fmla="*/ 708436 w 772024"/>
              <a:gd name="connsiteY2" fmla="*/ 0 h 767631"/>
              <a:gd name="connsiteX3" fmla="*/ 708436 w 772024"/>
              <a:gd name="connsiteY3" fmla="*/ 704042 h 767631"/>
              <a:gd name="connsiteX4" fmla="*/ 0 w 772024"/>
              <a:gd name="connsiteY4" fmla="*/ 704043 h 767631"/>
              <a:gd name="connsiteX5" fmla="*/ 0 w 772024"/>
              <a:gd name="connsiteY5" fmla="*/ 767631 h 767631"/>
              <a:gd name="connsiteX6" fmla="*/ 708436 w 772024"/>
              <a:gd name="connsiteY6" fmla="*/ 767630 h 767631"/>
              <a:gd name="connsiteX7" fmla="*/ 708436 w 772024"/>
              <a:gd name="connsiteY7" fmla="*/ 767631 h 76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024" h="767631">
                <a:moveTo>
                  <a:pt x="772024" y="767631"/>
                </a:moveTo>
                <a:lnTo>
                  <a:pt x="772024" y="0"/>
                </a:lnTo>
                <a:lnTo>
                  <a:pt x="708436" y="0"/>
                </a:lnTo>
                <a:lnTo>
                  <a:pt x="708436" y="704042"/>
                </a:lnTo>
                <a:lnTo>
                  <a:pt x="0" y="704043"/>
                </a:lnTo>
                <a:lnTo>
                  <a:pt x="0" y="767631"/>
                </a:lnTo>
                <a:lnTo>
                  <a:pt x="708436" y="767630"/>
                </a:lnTo>
                <a:lnTo>
                  <a:pt x="708436" y="76763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>
          <a:xfrm flipH="1">
            <a:off x="4523416" y="3963914"/>
            <a:ext cx="767632" cy="772024"/>
          </a:xfrm>
          <a:custGeom>
            <a:avLst/>
            <a:gdLst>
              <a:gd name="connsiteX0" fmla="*/ 63589 w 767632"/>
              <a:gd name="connsiteY0" fmla="*/ 0 h 772024"/>
              <a:gd name="connsiteX1" fmla="*/ 1 w 767632"/>
              <a:gd name="connsiteY1" fmla="*/ 0 h 772024"/>
              <a:gd name="connsiteX2" fmla="*/ 1 w 767632"/>
              <a:gd name="connsiteY2" fmla="*/ 708436 h 772024"/>
              <a:gd name="connsiteX3" fmla="*/ 0 w 767632"/>
              <a:gd name="connsiteY3" fmla="*/ 708436 h 772024"/>
              <a:gd name="connsiteX4" fmla="*/ 0 w 767632"/>
              <a:gd name="connsiteY4" fmla="*/ 772024 h 772024"/>
              <a:gd name="connsiteX5" fmla="*/ 767632 w 767632"/>
              <a:gd name="connsiteY5" fmla="*/ 772024 h 772024"/>
              <a:gd name="connsiteX6" fmla="*/ 767632 w 767632"/>
              <a:gd name="connsiteY6" fmla="*/ 708436 h 772024"/>
              <a:gd name="connsiteX7" fmla="*/ 63589 w 767632"/>
              <a:gd name="connsiteY7" fmla="*/ 708436 h 772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7632" h="772024">
                <a:moveTo>
                  <a:pt x="63589" y="0"/>
                </a:moveTo>
                <a:lnTo>
                  <a:pt x="1" y="0"/>
                </a:lnTo>
                <a:lnTo>
                  <a:pt x="1" y="708436"/>
                </a:lnTo>
                <a:lnTo>
                  <a:pt x="0" y="708436"/>
                </a:lnTo>
                <a:lnTo>
                  <a:pt x="0" y="772024"/>
                </a:lnTo>
                <a:lnTo>
                  <a:pt x="767632" y="772024"/>
                </a:lnTo>
                <a:lnTo>
                  <a:pt x="767632" y="708436"/>
                </a:lnTo>
                <a:lnTo>
                  <a:pt x="63589" y="7084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31186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A Left blu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533400"/>
            <a:ext cx="5734050" cy="5791200"/>
          </a:xfrm>
          <a:prstGeom prst="rect">
            <a:avLst/>
          </a:prstGeom>
          <a:solidFill>
            <a:schemeClr val="accent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49288" y="2320925"/>
            <a:ext cx="4433887" cy="22209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 rot="5400000" flipH="1">
            <a:off x="439219" y="2124260"/>
            <a:ext cx="772024" cy="767631"/>
          </a:xfrm>
          <a:custGeom>
            <a:avLst/>
            <a:gdLst>
              <a:gd name="connsiteX0" fmla="*/ 772024 w 772024"/>
              <a:gd name="connsiteY0" fmla="*/ 767631 h 767631"/>
              <a:gd name="connsiteX1" fmla="*/ 772024 w 772024"/>
              <a:gd name="connsiteY1" fmla="*/ 0 h 767631"/>
              <a:gd name="connsiteX2" fmla="*/ 708436 w 772024"/>
              <a:gd name="connsiteY2" fmla="*/ 0 h 767631"/>
              <a:gd name="connsiteX3" fmla="*/ 708436 w 772024"/>
              <a:gd name="connsiteY3" fmla="*/ 704042 h 767631"/>
              <a:gd name="connsiteX4" fmla="*/ 0 w 772024"/>
              <a:gd name="connsiteY4" fmla="*/ 704043 h 767631"/>
              <a:gd name="connsiteX5" fmla="*/ 0 w 772024"/>
              <a:gd name="connsiteY5" fmla="*/ 767631 h 767631"/>
              <a:gd name="connsiteX6" fmla="*/ 708436 w 772024"/>
              <a:gd name="connsiteY6" fmla="*/ 767630 h 767631"/>
              <a:gd name="connsiteX7" fmla="*/ 708436 w 772024"/>
              <a:gd name="connsiteY7" fmla="*/ 767631 h 76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024" h="767631">
                <a:moveTo>
                  <a:pt x="772024" y="767631"/>
                </a:moveTo>
                <a:lnTo>
                  <a:pt x="772024" y="0"/>
                </a:lnTo>
                <a:lnTo>
                  <a:pt x="708436" y="0"/>
                </a:lnTo>
                <a:lnTo>
                  <a:pt x="708436" y="704042"/>
                </a:lnTo>
                <a:lnTo>
                  <a:pt x="0" y="704043"/>
                </a:lnTo>
                <a:lnTo>
                  <a:pt x="0" y="767631"/>
                </a:lnTo>
                <a:lnTo>
                  <a:pt x="708436" y="767630"/>
                </a:lnTo>
                <a:lnTo>
                  <a:pt x="708436" y="76763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/>
          </p:nvPr>
        </p:nvSpPr>
        <p:spPr>
          <a:xfrm flipH="1">
            <a:off x="4523416" y="3963914"/>
            <a:ext cx="767632" cy="772024"/>
          </a:xfrm>
          <a:custGeom>
            <a:avLst/>
            <a:gdLst>
              <a:gd name="connsiteX0" fmla="*/ 63589 w 767632"/>
              <a:gd name="connsiteY0" fmla="*/ 0 h 772024"/>
              <a:gd name="connsiteX1" fmla="*/ 1 w 767632"/>
              <a:gd name="connsiteY1" fmla="*/ 0 h 772024"/>
              <a:gd name="connsiteX2" fmla="*/ 1 w 767632"/>
              <a:gd name="connsiteY2" fmla="*/ 708436 h 772024"/>
              <a:gd name="connsiteX3" fmla="*/ 0 w 767632"/>
              <a:gd name="connsiteY3" fmla="*/ 708436 h 772024"/>
              <a:gd name="connsiteX4" fmla="*/ 0 w 767632"/>
              <a:gd name="connsiteY4" fmla="*/ 772024 h 772024"/>
              <a:gd name="connsiteX5" fmla="*/ 767632 w 767632"/>
              <a:gd name="connsiteY5" fmla="*/ 772024 h 772024"/>
              <a:gd name="connsiteX6" fmla="*/ 767632 w 767632"/>
              <a:gd name="connsiteY6" fmla="*/ 708436 h 772024"/>
              <a:gd name="connsiteX7" fmla="*/ 63589 w 767632"/>
              <a:gd name="connsiteY7" fmla="*/ 708436 h 772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7632" h="772024">
                <a:moveTo>
                  <a:pt x="63589" y="0"/>
                </a:moveTo>
                <a:lnTo>
                  <a:pt x="1" y="0"/>
                </a:lnTo>
                <a:lnTo>
                  <a:pt x="1" y="708436"/>
                </a:lnTo>
                <a:lnTo>
                  <a:pt x="0" y="708436"/>
                </a:lnTo>
                <a:lnTo>
                  <a:pt x="0" y="772024"/>
                </a:lnTo>
                <a:lnTo>
                  <a:pt x="767632" y="772024"/>
                </a:lnTo>
                <a:lnTo>
                  <a:pt x="767632" y="708436"/>
                </a:lnTo>
                <a:lnTo>
                  <a:pt x="63589" y="7084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51902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A Right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6457950" y="533400"/>
            <a:ext cx="5734050" cy="5791200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7107238" y="2320925"/>
            <a:ext cx="4433887" cy="22209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 rot="5400000" flipH="1">
            <a:off x="6897169" y="2124260"/>
            <a:ext cx="772024" cy="767631"/>
          </a:xfrm>
          <a:custGeom>
            <a:avLst/>
            <a:gdLst>
              <a:gd name="connsiteX0" fmla="*/ 772024 w 772024"/>
              <a:gd name="connsiteY0" fmla="*/ 767631 h 767631"/>
              <a:gd name="connsiteX1" fmla="*/ 772024 w 772024"/>
              <a:gd name="connsiteY1" fmla="*/ 0 h 767631"/>
              <a:gd name="connsiteX2" fmla="*/ 708436 w 772024"/>
              <a:gd name="connsiteY2" fmla="*/ 0 h 767631"/>
              <a:gd name="connsiteX3" fmla="*/ 708436 w 772024"/>
              <a:gd name="connsiteY3" fmla="*/ 704043 h 767631"/>
              <a:gd name="connsiteX4" fmla="*/ 0 w 772024"/>
              <a:gd name="connsiteY4" fmla="*/ 704043 h 767631"/>
              <a:gd name="connsiteX5" fmla="*/ 0 w 772024"/>
              <a:gd name="connsiteY5" fmla="*/ 767631 h 767631"/>
              <a:gd name="connsiteX6" fmla="*/ 708436 w 772024"/>
              <a:gd name="connsiteY6" fmla="*/ 767631 h 767631"/>
              <a:gd name="connsiteX7" fmla="*/ 708436 w 772024"/>
              <a:gd name="connsiteY7" fmla="*/ 767631 h 76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024" h="767631">
                <a:moveTo>
                  <a:pt x="772024" y="767631"/>
                </a:moveTo>
                <a:lnTo>
                  <a:pt x="772024" y="0"/>
                </a:lnTo>
                <a:lnTo>
                  <a:pt x="708436" y="0"/>
                </a:lnTo>
                <a:lnTo>
                  <a:pt x="708436" y="704043"/>
                </a:lnTo>
                <a:lnTo>
                  <a:pt x="0" y="704043"/>
                </a:lnTo>
                <a:lnTo>
                  <a:pt x="0" y="767631"/>
                </a:lnTo>
                <a:lnTo>
                  <a:pt x="708436" y="767631"/>
                </a:lnTo>
                <a:lnTo>
                  <a:pt x="708436" y="76763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 flipH="1">
            <a:off x="10981366" y="3963914"/>
            <a:ext cx="767632" cy="772024"/>
          </a:xfrm>
          <a:custGeom>
            <a:avLst/>
            <a:gdLst>
              <a:gd name="connsiteX0" fmla="*/ 63589 w 767632"/>
              <a:gd name="connsiteY0" fmla="*/ 0 h 772024"/>
              <a:gd name="connsiteX1" fmla="*/ 1 w 767632"/>
              <a:gd name="connsiteY1" fmla="*/ 0 h 772024"/>
              <a:gd name="connsiteX2" fmla="*/ 1 w 767632"/>
              <a:gd name="connsiteY2" fmla="*/ 708436 h 772024"/>
              <a:gd name="connsiteX3" fmla="*/ 0 w 767632"/>
              <a:gd name="connsiteY3" fmla="*/ 708436 h 772024"/>
              <a:gd name="connsiteX4" fmla="*/ 0 w 767632"/>
              <a:gd name="connsiteY4" fmla="*/ 772024 h 772024"/>
              <a:gd name="connsiteX5" fmla="*/ 767632 w 767632"/>
              <a:gd name="connsiteY5" fmla="*/ 772024 h 772024"/>
              <a:gd name="connsiteX6" fmla="*/ 767632 w 767632"/>
              <a:gd name="connsiteY6" fmla="*/ 708436 h 772024"/>
              <a:gd name="connsiteX7" fmla="*/ 63589 w 767632"/>
              <a:gd name="connsiteY7" fmla="*/ 708436 h 772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7632" h="772024">
                <a:moveTo>
                  <a:pt x="63589" y="0"/>
                </a:moveTo>
                <a:lnTo>
                  <a:pt x="1" y="0"/>
                </a:lnTo>
                <a:lnTo>
                  <a:pt x="1" y="708436"/>
                </a:lnTo>
                <a:lnTo>
                  <a:pt x="0" y="708436"/>
                </a:lnTo>
                <a:lnTo>
                  <a:pt x="0" y="772024"/>
                </a:lnTo>
                <a:lnTo>
                  <a:pt x="767632" y="772024"/>
                </a:lnTo>
                <a:lnTo>
                  <a:pt x="767632" y="708436"/>
                </a:lnTo>
                <a:lnTo>
                  <a:pt x="63589" y="7084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47741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A Right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6457950" y="533400"/>
            <a:ext cx="5734050" cy="5791200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7107238" y="2320925"/>
            <a:ext cx="4433887" cy="22209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 rot="5400000" flipH="1">
            <a:off x="6897169" y="2124260"/>
            <a:ext cx="772024" cy="767631"/>
          </a:xfrm>
          <a:custGeom>
            <a:avLst/>
            <a:gdLst>
              <a:gd name="connsiteX0" fmla="*/ 772024 w 772024"/>
              <a:gd name="connsiteY0" fmla="*/ 767631 h 767631"/>
              <a:gd name="connsiteX1" fmla="*/ 772024 w 772024"/>
              <a:gd name="connsiteY1" fmla="*/ 0 h 767631"/>
              <a:gd name="connsiteX2" fmla="*/ 708436 w 772024"/>
              <a:gd name="connsiteY2" fmla="*/ 0 h 767631"/>
              <a:gd name="connsiteX3" fmla="*/ 708436 w 772024"/>
              <a:gd name="connsiteY3" fmla="*/ 704043 h 767631"/>
              <a:gd name="connsiteX4" fmla="*/ 0 w 772024"/>
              <a:gd name="connsiteY4" fmla="*/ 704043 h 767631"/>
              <a:gd name="connsiteX5" fmla="*/ 0 w 772024"/>
              <a:gd name="connsiteY5" fmla="*/ 767631 h 767631"/>
              <a:gd name="connsiteX6" fmla="*/ 708436 w 772024"/>
              <a:gd name="connsiteY6" fmla="*/ 767631 h 767631"/>
              <a:gd name="connsiteX7" fmla="*/ 708436 w 772024"/>
              <a:gd name="connsiteY7" fmla="*/ 767631 h 76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024" h="767631">
                <a:moveTo>
                  <a:pt x="772024" y="767631"/>
                </a:moveTo>
                <a:lnTo>
                  <a:pt x="772024" y="0"/>
                </a:lnTo>
                <a:lnTo>
                  <a:pt x="708436" y="0"/>
                </a:lnTo>
                <a:lnTo>
                  <a:pt x="708436" y="704043"/>
                </a:lnTo>
                <a:lnTo>
                  <a:pt x="0" y="704043"/>
                </a:lnTo>
                <a:lnTo>
                  <a:pt x="0" y="767631"/>
                </a:lnTo>
                <a:lnTo>
                  <a:pt x="708436" y="767631"/>
                </a:lnTo>
                <a:lnTo>
                  <a:pt x="708436" y="76763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 flipH="1">
            <a:off x="10981366" y="3963914"/>
            <a:ext cx="767632" cy="772024"/>
          </a:xfrm>
          <a:custGeom>
            <a:avLst/>
            <a:gdLst>
              <a:gd name="connsiteX0" fmla="*/ 63589 w 767632"/>
              <a:gd name="connsiteY0" fmla="*/ 0 h 772024"/>
              <a:gd name="connsiteX1" fmla="*/ 1 w 767632"/>
              <a:gd name="connsiteY1" fmla="*/ 0 h 772024"/>
              <a:gd name="connsiteX2" fmla="*/ 1 w 767632"/>
              <a:gd name="connsiteY2" fmla="*/ 708436 h 772024"/>
              <a:gd name="connsiteX3" fmla="*/ 0 w 767632"/>
              <a:gd name="connsiteY3" fmla="*/ 708436 h 772024"/>
              <a:gd name="connsiteX4" fmla="*/ 0 w 767632"/>
              <a:gd name="connsiteY4" fmla="*/ 772024 h 772024"/>
              <a:gd name="connsiteX5" fmla="*/ 767632 w 767632"/>
              <a:gd name="connsiteY5" fmla="*/ 772024 h 772024"/>
              <a:gd name="connsiteX6" fmla="*/ 767632 w 767632"/>
              <a:gd name="connsiteY6" fmla="*/ 708436 h 772024"/>
              <a:gd name="connsiteX7" fmla="*/ 63589 w 767632"/>
              <a:gd name="connsiteY7" fmla="*/ 708436 h 772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7632" h="772024">
                <a:moveTo>
                  <a:pt x="63589" y="0"/>
                </a:moveTo>
                <a:lnTo>
                  <a:pt x="1" y="0"/>
                </a:lnTo>
                <a:lnTo>
                  <a:pt x="1" y="708436"/>
                </a:lnTo>
                <a:lnTo>
                  <a:pt x="0" y="708436"/>
                </a:lnTo>
                <a:lnTo>
                  <a:pt x="0" y="772024"/>
                </a:lnTo>
                <a:lnTo>
                  <a:pt x="767632" y="772024"/>
                </a:lnTo>
                <a:lnTo>
                  <a:pt x="767632" y="708436"/>
                </a:lnTo>
                <a:lnTo>
                  <a:pt x="63589" y="7084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08631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4F8116A-B165-04E9-83FC-50A25F30FA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08547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471" imgH="472" progId="TCLayout.ActiveDocument.1">
                  <p:embed/>
                </p:oleObj>
              </mc:Choice>
              <mc:Fallback>
                <p:oleObj name="think-cell Slide" r:id="rId36" imgW="471" imgH="47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4F8116A-B165-04E9-83FC-50A25F30FA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12192000" cy="361997"/>
          </a:xfrm>
          <a:prstGeom prst="rect">
            <a:avLst/>
          </a:prstGeom>
          <a:gradFill>
            <a:gsLst>
              <a:gs pos="80000">
                <a:schemeClr val="tx1"/>
              </a:gs>
              <a:gs pos="0">
                <a:schemeClr val="tx2"/>
              </a:gs>
            </a:gsLst>
            <a:lin ang="8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en-US" sz="4800" dirty="0">
              <a:solidFill>
                <a:schemeClr val="bg1"/>
              </a:solidFill>
              <a:latin typeface="DIN Offc Light" panose="020B0504020101010102" pitchFamily="34" charset="0"/>
              <a:cs typeface="Arial" charset="0"/>
            </a:endParaRP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0" y="361997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/>
          <p:cNvSpPr txBox="1"/>
          <p:nvPr userDrawn="1"/>
        </p:nvSpPr>
        <p:spPr>
          <a:xfrm>
            <a:off x="11830506" y="58339"/>
            <a:ext cx="247074" cy="245318"/>
          </a:xfrm>
          <a:prstGeom prst="rect">
            <a:avLst/>
          </a:prstGeom>
          <a:noFill/>
          <a:ln w="31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lvl="0" algn="ctr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bg1"/>
                </a:solidFill>
                <a:latin typeface="DIN Offc Light" panose="020B0504020101010102" pitchFamily="34" charset="0"/>
                <a:cs typeface="Arial" charset="0"/>
              </a:defRPr>
            </a:lvl1pPr>
          </a:lstStyle>
          <a:p>
            <a:pPr lvl="0"/>
            <a:fld id="{1D94F95D-D830-43B9-AA6D-9A7C6420FAFA}" type="slidenum">
              <a:rPr lang="fr-BE" sz="900" b="1" smtClean="0">
                <a:solidFill>
                  <a:schemeClr val="bg1"/>
                </a:solidFill>
                <a:latin typeface="+mj-lt"/>
              </a:rPr>
              <a:pPr lvl="0"/>
              <a:t>‹#›</a:t>
            </a:fld>
            <a:endParaRPr lang="fr-BE" sz="9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6193" y="6453935"/>
            <a:ext cx="542925" cy="27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858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650" r:id="rId2"/>
    <p:sldLayoutId id="2147483651" r:id="rId3"/>
    <p:sldLayoutId id="2147483660" r:id="rId4"/>
    <p:sldLayoutId id="2147483703" r:id="rId5"/>
    <p:sldLayoutId id="2147483701" r:id="rId6"/>
    <p:sldLayoutId id="2147483698" r:id="rId7"/>
    <p:sldLayoutId id="2147483668" r:id="rId8"/>
    <p:sldLayoutId id="2147483716" r:id="rId9"/>
    <p:sldLayoutId id="2147483717" r:id="rId10"/>
    <p:sldLayoutId id="2147483718" r:id="rId11"/>
    <p:sldLayoutId id="2147483663" r:id="rId12"/>
    <p:sldLayoutId id="2147483711" r:id="rId13"/>
    <p:sldLayoutId id="2147483714" r:id="rId14"/>
    <p:sldLayoutId id="2147483713" r:id="rId15"/>
    <p:sldLayoutId id="2147483664" r:id="rId16"/>
    <p:sldLayoutId id="2147483719" r:id="rId17"/>
    <p:sldLayoutId id="2147483720" r:id="rId18"/>
    <p:sldLayoutId id="2147483721" r:id="rId19"/>
    <p:sldLayoutId id="2147483665" r:id="rId20"/>
    <p:sldLayoutId id="2147483722" r:id="rId21"/>
    <p:sldLayoutId id="2147483723" r:id="rId22"/>
    <p:sldLayoutId id="2147483724" r:id="rId23"/>
    <p:sldLayoutId id="2147483666" r:id="rId24"/>
    <p:sldLayoutId id="2147483725" r:id="rId25"/>
    <p:sldLayoutId id="2147483726" r:id="rId26"/>
    <p:sldLayoutId id="2147483727" r:id="rId27"/>
    <p:sldLayoutId id="2147483738" r:id="rId28"/>
    <p:sldLayoutId id="2147483669" r:id="rId29"/>
    <p:sldLayoutId id="2147483739" r:id="rId30"/>
    <p:sldLayoutId id="2147483740" r:id="rId31"/>
    <p:sldLayoutId id="2147483741" r:id="rId32"/>
    <p:sldLayoutId id="2147483742" r:id="rId3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6.emf"/><Relationship Id="rId7" Type="http://schemas.openxmlformats.org/officeDocument/2006/relationships/hyperlink" Target="wirtgen%202.mp4" TargetMode="External"/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jpeg"/><Relationship Id="rId5" Type="http://schemas.openxmlformats.org/officeDocument/2006/relationships/hyperlink" Target="https://www.google.be/imgres?imgurl=http://www.globo-rojo.com/wp-content/uploads/green-recycling-symbol.jpg&amp;imgrefurl=http://www.globo-rojo.com/services/recycling-points/&amp;docid=q0fyeLZwdsqYhM&amp;tbnid=2AtlUAZp22lhWM:&amp;w=1280&amp;h=1024&amp;ved=0ahUKEwjc5LaGxMLLAhVFAA8KHXR0BfcQxiAIAg&amp;iact=c&amp;ictx=1" TargetMode="External"/><Relationship Id="rId10" Type="http://schemas.openxmlformats.org/officeDocument/2006/relationships/image" Target="../media/image37.png"/><Relationship Id="rId4" Type="http://schemas.openxmlformats.org/officeDocument/2006/relationships/image" Target="../media/image39.emf"/><Relationship Id="rId9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47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6.jpeg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emf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8.emf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11" Type="http://schemas.openxmlformats.org/officeDocument/2006/relationships/image" Target="../media/image52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51.emf"/><Relationship Id="rId4" Type="http://schemas.microsoft.com/office/2018/10/relationships/comments" Target="../comments/modernComment_2E2_C97B9427.xml"/><Relationship Id="rId9" Type="http://schemas.openxmlformats.org/officeDocument/2006/relationships/image" Target="../media/image50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emf"/><Relationship Id="rId3" Type="http://schemas.openxmlformats.org/officeDocument/2006/relationships/oleObject" Target="../embeddings/oleObject4.bin"/><Relationship Id="rId7" Type="http://schemas.openxmlformats.org/officeDocument/2006/relationships/image" Target="../media/image54.emf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5.xml"/><Relationship Id="rId6" Type="http://schemas.openxmlformats.org/officeDocument/2006/relationships/image" Target="../media/image53.emf"/><Relationship Id="rId11" Type="http://schemas.openxmlformats.org/officeDocument/2006/relationships/image" Target="../media/image48.emf"/><Relationship Id="rId5" Type="http://schemas.openxmlformats.org/officeDocument/2006/relationships/chart" Target="../charts/chart1.xml"/><Relationship Id="rId10" Type="http://schemas.openxmlformats.org/officeDocument/2006/relationships/image" Target="../media/image51.emf"/><Relationship Id="rId4" Type="http://schemas.openxmlformats.org/officeDocument/2006/relationships/image" Target="../media/image1.emf"/><Relationship Id="rId9" Type="http://schemas.openxmlformats.org/officeDocument/2006/relationships/image" Target="../media/image49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9.jpeg"/><Relationship Id="rId4" Type="http://schemas.openxmlformats.org/officeDocument/2006/relationships/image" Target="../media/image58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6.xml"/><Relationship Id="rId5" Type="http://schemas.openxmlformats.org/officeDocument/2006/relationships/image" Target="../media/image76.png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7.xml"/><Relationship Id="rId6" Type="http://schemas.openxmlformats.org/officeDocument/2006/relationships/hyperlink" Target="http://creativecommons.org/licenses/by/2.5" TargetMode="External"/><Relationship Id="rId5" Type="http://schemas.openxmlformats.org/officeDocument/2006/relationships/image" Target="../media/image77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8.xml"/><Relationship Id="rId6" Type="http://schemas.openxmlformats.org/officeDocument/2006/relationships/image" Target="../media/image79.jpeg"/><Relationship Id="rId5" Type="http://schemas.openxmlformats.org/officeDocument/2006/relationships/image" Target="../media/image78.jpeg"/><Relationship Id="rId4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81.jpe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9.xml"/><Relationship Id="rId6" Type="http://schemas.openxmlformats.org/officeDocument/2006/relationships/image" Target="../media/image8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0.xml"/><Relationship Id="rId6" Type="http://schemas.openxmlformats.org/officeDocument/2006/relationships/image" Target="../media/image83.jpeg"/><Relationship Id="rId5" Type="http://schemas.openxmlformats.org/officeDocument/2006/relationships/image" Target="../media/image82.jpeg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86.jpe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1.xml"/><Relationship Id="rId6" Type="http://schemas.openxmlformats.org/officeDocument/2006/relationships/image" Target="../media/image85.jpeg"/><Relationship Id="rId5" Type="http://schemas.openxmlformats.org/officeDocument/2006/relationships/image" Target="../media/image84.jpeg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oleObject" Target="../embeddings/oleObject11.bin"/><Relationship Id="rId7" Type="http://schemas.openxmlformats.org/officeDocument/2006/relationships/diagramQuickStyle" Target="../diagrams/quickStyle2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2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1.emf"/><Relationship Id="rId9" Type="http://schemas.microsoft.com/office/2007/relationships/diagramDrawing" Target="../diagrams/drawing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3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10" Type="http://schemas.openxmlformats.org/officeDocument/2006/relationships/chart" Target="../charts/chart3.xml"/><Relationship Id="rId4" Type="http://schemas.openxmlformats.org/officeDocument/2006/relationships/tags" Target="../tags/tag17.xml"/><Relationship Id="rId9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13" Type="http://schemas.openxmlformats.org/officeDocument/2006/relationships/image" Target="../media/image25.emf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9.emf"/><Relationship Id="rId12" Type="http://schemas.openxmlformats.org/officeDocument/2006/relationships/image" Target="../media/image24.emf"/><Relationship Id="rId2" Type="http://schemas.openxmlformats.org/officeDocument/2006/relationships/slideLayout" Target="../slideLayouts/slideLayout30.xml"/><Relationship Id="rId16" Type="http://schemas.openxmlformats.org/officeDocument/2006/relationships/image" Target="../media/image28.emf"/><Relationship Id="rId1" Type="http://schemas.openxmlformats.org/officeDocument/2006/relationships/tags" Target="../tags/tag3.xml"/><Relationship Id="rId6" Type="http://schemas.openxmlformats.org/officeDocument/2006/relationships/image" Target="../media/image18.jpeg"/><Relationship Id="rId11" Type="http://schemas.openxmlformats.org/officeDocument/2006/relationships/image" Target="../media/image23.emf"/><Relationship Id="rId5" Type="http://schemas.openxmlformats.org/officeDocument/2006/relationships/image" Target="../media/image17.emf"/><Relationship Id="rId15" Type="http://schemas.openxmlformats.org/officeDocument/2006/relationships/image" Target="../media/image27.emf"/><Relationship Id="rId10" Type="http://schemas.openxmlformats.org/officeDocument/2006/relationships/image" Target="../media/image2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1.emf"/><Relationship Id="rId14" Type="http://schemas.openxmlformats.org/officeDocument/2006/relationships/image" Target="../media/image26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hyperlink" Target="https://www.google.be/imgres?imgurl=http://www.globo-rojo.com/wp-content/uploads/green-recycling-symbol.jpg&amp;imgrefurl=http://www.globo-rojo.com/services/recycling-points/&amp;docid=q0fyeLZwdsqYhM&amp;tbnid=2AtlUAZp22lhWM:&amp;w=1280&amp;h=1024&amp;ved=0ahUKEwjc5LaGxMLLAhVFAA8KHXR0BfcQxiAIAg&amp;iact=c&amp;ictx=1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3.jpeg"/><Relationship Id="rId4" Type="http://schemas.openxmlformats.org/officeDocument/2006/relationships/hyperlink" Target="https://en.wikipedia.org/wiki/File:10mm-aggregate.jpg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7" Type="http://schemas.openxmlformats.org/officeDocument/2006/relationships/image" Target="../media/image38.jpeg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www.google.be/url?sa=i&amp;rct=j&amp;q=&amp;esrc=s&amp;frm=1&amp;source=images&amp;cd=&amp;cad=rja&amp;uact=8&amp;ved=0ahUKEwiHrJXK7sTLAhXGLg8KHWXlDWwQjRwIBw&amp;url=http://www.euroslag.com/applications/aggregates/&amp;psig=AFQjCNEuExqoK3YOi5atFFAOvz1a7crtOQ&amp;ust=1458205899262350" TargetMode="External"/><Relationship Id="rId5" Type="http://schemas.openxmlformats.org/officeDocument/2006/relationships/image" Target="../media/image37.png"/><Relationship Id="rId4" Type="http://schemas.openxmlformats.org/officeDocument/2006/relationships/image" Target="../media/image3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22DEC1B-BFEB-179A-0ADD-09B57C5F61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35819" y="4050706"/>
            <a:ext cx="4720361" cy="1147717"/>
          </a:xfrm>
        </p:spPr>
        <p:txBody>
          <a:bodyPr>
            <a:normAutofit/>
          </a:bodyPr>
          <a:lstStyle/>
          <a:p>
            <a:r>
              <a:rPr lang="en-US" sz="2000" dirty="0">
                <a:ea typeface="Tahoma"/>
                <a:cs typeface="Tahoma"/>
              </a:rPr>
              <a:t>III. ViaCalco Symposium </a:t>
            </a:r>
            <a:br>
              <a:rPr lang="hu-HU" sz="2000" dirty="0">
                <a:ea typeface="Tahoma"/>
                <a:cs typeface="Tahoma"/>
              </a:rPr>
            </a:br>
            <a:r>
              <a:rPr lang="en-US" sz="2000" dirty="0">
                <a:ea typeface="Tahoma"/>
                <a:cs typeface="Tahoma"/>
              </a:rPr>
              <a:t>in BME</a:t>
            </a:r>
            <a:br>
              <a:rPr lang="en-US" sz="2000" dirty="0">
                <a:ea typeface="Tahoma"/>
                <a:cs typeface="Tahoma"/>
              </a:rPr>
            </a:br>
            <a:r>
              <a:rPr lang="en-US" sz="2000" dirty="0">
                <a:ea typeface="Tahoma"/>
                <a:cs typeface="Tahoma"/>
              </a:rPr>
              <a:t>Budapest</a:t>
            </a:r>
            <a:r>
              <a:rPr lang="hu-HU" sz="2000" dirty="0">
                <a:ea typeface="Tahoma"/>
                <a:cs typeface="Tahoma"/>
              </a:rPr>
              <a:t>,</a:t>
            </a:r>
            <a:r>
              <a:rPr lang="en-US" sz="2000" dirty="0">
                <a:ea typeface="Tahoma"/>
                <a:cs typeface="Tahoma"/>
              </a:rPr>
              <a:t> 2022</a:t>
            </a:r>
            <a:endParaRPr lang="sk-S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C9280B-9A8A-97EF-51C1-09B50E258B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3200" dirty="0">
                <a:ea typeface="Tahoma"/>
                <a:cs typeface="Tahoma"/>
              </a:rPr>
              <a:t>SUSTAINABLE LOOK </a:t>
            </a:r>
          </a:p>
          <a:p>
            <a:r>
              <a:rPr lang="en-US" sz="3200" dirty="0">
                <a:ea typeface="Tahoma"/>
                <a:cs typeface="Tahoma"/>
              </a:rPr>
              <a:t>ON GEOTECHNICS</a:t>
            </a:r>
          </a:p>
        </p:txBody>
      </p:sp>
    </p:spTree>
    <p:extLst>
      <p:ext uri="{BB962C8B-B14F-4D97-AF65-F5344CB8AC3E}">
        <p14:creationId xmlns:p14="http://schemas.microsoft.com/office/powerpoint/2010/main" val="9469610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latin typeface="DIN Offc" panose="020B0504020101020102" pitchFamily="34" charset="0"/>
            </a:endParaRPr>
          </a:p>
        </p:txBody>
      </p:sp>
      <p:sp>
        <p:nvSpPr>
          <p:cNvPr id="7" name="Freeform 6"/>
          <p:cNvSpPr/>
          <p:nvPr/>
        </p:nvSpPr>
        <p:spPr bwMode="auto">
          <a:xfrm>
            <a:off x="2999656" y="1367363"/>
            <a:ext cx="6151418" cy="1063932"/>
          </a:xfrm>
          <a:custGeom>
            <a:avLst/>
            <a:gdLst>
              <a:gd name="connsiteX0" fmla="*/ 0 w 6151418"/>
              <a:gd name="connsiteY0" fmla="*/ 559785 h 1063932"/>
              <a:gd name="connsiteX1" fmla="*/ 463138 w 6151418"/>
              <a:gd name="connsiteY1" fmla="*/ 13520 h 1063932"/>
              <a:gd name="connsiteX2" fmla="*/ 1674421 w 6151418"/>
              <a:gd name="connsiteY2" fmla="*/ 1058549 h 1063932"/>
              <a:gd name="connsiteX3" fmla="*/ 3301341 w 6151418"/>
              <a:gd name="connsiteY3" fmla="*/ 441032 h 1063932"/>
              <a:gd name="connsiteX4" fmla="*/ 4916385 w 6151418"/>
              <a:gd name="connsiteY4" fmla="*/ 880419 h 1063932"/>
              <a:gd name="connsiteX5" fmla="*/ 6151418 w 6151418"/>
              <a:gd name="connsiteY5" fmla="*/ 666663 h 1063932"/>
              <a:gd name="connsiteX6" fmla="*/ 6151418 w 6151418"/>
              <a:gd name="connsiteY6" fmla="*/ 666663 h 1063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51418" h="1063932">
                <a:moveTo>
                  <a:pt x="0" y="559785"/>
                </a:moveTo>
                <a:cubicBezTo>
                  <a:pt x="92034" y="245089"/>
                  <a:pt x="184068" y="-69607"/>
                  <a:pt x="463138" y="13520"/>
                </a:cubicBezTo>
                <a:cubicBezTo>
                  <a:pt x="742208" y="96647"/>
                  <a:pt x="1201387" y="987297"/>
                  <a:pt x="1674421" y="1058549"/>
                </a:cubicBezTo>
                <a:cubicBezTo>
                  <a:pt x="2147455" y="1129801"/>
                  <a:pt x="2761014" y="470720"/>
                  <a:pt x="3301341" y="441032"/>
                </a:cubicBezTo>
                <a:cubicBezTo>
                  <a:pt x="3841668" y="411344"/>
                  <a:pt x="4441372" y="842814"/>
                  <a:pt x="4916385" y="880419"/>
                </a:cubicBezTo>
                <a:cubicBezTo>
                  <a:pt x="5391398" y="918024"/>
                  <a:pt x="6151418" y="666663"/>
                  <a:pt x="6151418" y="666663"/>
                </a:cubicBezTo>
                <a:lnTo>
                  <a:pt x="6151418" y="666663"/>
                </a:lnTo>
              </a:path>
            </a:pathLst>
          </a:cu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BE" sz="2400">
              <a:latin typeface="Tahoma" pitchFamily="34" charset="0"/>
            </a:endParaRP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2438961" y="1925502"/>
            <a:ext cx="7272808" cy="114399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968"/>
          <a:stretch/>
        </p:blipFill>
        <p:spPr bwMode="auto">
          <a:xfrm>
            <a:off x="2999657" y="1351003"/>
            <a:ext cx="1049069" cy="1090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52" r="31649"/>
          <a:stretch/>
        </p:blipFill>
        <p:spPr bwMode="auto">
          <a:xfrm>
            <a:off x="5739471" y="1340683"/>
            <a:ext cx="1484416" cy="1090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tangle 10"/>
          <p:cNvSpPr/>
          <p:nvPr/>
        </p:nvSpPr>
        <p:spPr bwMode="auto">
          <a:xfrm>
            <a:off x="5691704" y="1088496"/>
            <a:ext cx="1579953" cy="72445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BE" sz="2400">
              <a:latin typeface="Tahoma" pitchFamily="34" charset="0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95" r="54641"/>
          <a:stretch/>
        </p:blipFill>
        <p:spPr bwMode="auto">
          <a:xfrm>
            <a:off x="3935760" y="1367363"/>
            <a:ext cx="1840406" cy="1090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984"/>
          <a:stretch/>
        </p:blipFill>
        <p:spPr bwMode="auto">
          <a:xfrm>
            <a:off x="7104113" y="1367363"/>
            <a:ext cx="2034691" cy="1090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Curved Down Arrow 13"/>
          <p:cNvSpPr/>
          <p:nvPr/>
        </p:nvSpPr>
        <p:spPr bwMode="auto">
          <a:xfrm rot="999536">
            <a:off x="3434562" y="1519280"/>
            <a:ext cx="1228326" cy="371026"/>
          </a:xfrm>
          <a:prstGeom prst="curvedDownArrow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BE" sz="2400">
              <a:latin typeface="Tahoma" pitchFamily="34" charset="0"/>
            </a:endParaRPr>
          </a:p>
        </p:txBody>
      </p:sp>
      <p:pic>
        <p:nvPicPr>
          <p:cNvPr id="15" name="Picture 8" descr="Image associée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3833" y="1362285"/>
            <a:ext cx="687297" cy="550385"/>
          </a:xfrm>
          <a:prstGeom prst="rect">
            <a:avLst/>
          </a:prstGeom>
          <a:noFill/>
        </p:spPr>
      </p:pic>
      <p:sp>
        <p:nvSpPr>
          <p:cNvPr id="16" name="Rectangle 15"/>
          <p:cNvSpPr/>
          <p:nvPr/>
        </p:nvSpPr>
        <p:spPr bwMode="auto">
          <a:xfrm>
            <a:off x="2815764" y="1186218"/>
            <a:ext cx="1200874" cy="72445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BE" sz="2400">
              <a:latin typeface="Tahoma" pitchFamily="34" charset="0"/>
            </a:endParaRPr>
          </a:p>
        </p:txBody>
      </p:sp>
      <p:pic>
        <p:nvPicPr>
          <p:cNvPr id="17" name="Picture 8" descr="Image associée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117" y="1428976"/>
            <a:ext cx="687297" cy="550385"/>
          </a:xfrm>
          <a:prstGeom prst="rect">
            <a:avLst/>
          </a:prstGeom>
          <a:noFill/>
        </p:spPr>
      </p:pic>
      <p:sp>
        <p:nvSpPr>
          <p:cNvPr id="18" name="Curved Down Arrow 17"/>
          <p:cNvSpPr/>
          <p:nvPr/>
        </p:nvSpPr>
        <p:spPr bwMode="auto">
          <a:xfrm rot="999536">
            <a:off x="6657493" y="1589698"/>
            <a:ext cx="1228326" cy="371026"/>
          </a:xfrm>
          <a:prstGeom prst="curvedDownArrow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BE" sz="2400">
              <a:latin typeface="Tahoma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5699551" y="1242482"/>
            <a:ext cx="1391194" cy="72445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BE" sz="2400">
              <a:latin typeface="Tahoma" pitchFamily="34" charset="0"/>
            </a:endParaRPr>
          </a:p>
        </p:txBody>
      </p:sp>
      <p:sp>
        <p:nvSpPr>
          <p:cNvPr id="20" name="Line Callout 1 (Border and Accent Bar) 19"/>
          <p:cNvSpPr/>
          <p:nvPr/>
        </p:nvSpPr>
        <p:spPr bwMode="auto">
          <a:xfrm>
            <a:off x="3723013" y="889142"/>
            <a:ext cx="1132951" cy="305622"/>
          </a:xfrm>
          <a:prstGeom prst="accentBorderCallout1">
            <a:avLst>
              <a:gd name="adj1" fmla="val 18750"/>
              <a:gd name="adj2" fmla="val -8333"/>
              <a:gd name="adj3" fmla="val 147470"/>
              <a:gd name="adj4" fmla="val -37748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BE" sz="1200" dirty="0" err="1">
                <a:solidFill>
                  <a:schemeClr val="bg1"/>
                </a:solidFill>
                <a:latin typeface="Tahoma" pitchFamily="34" charset="0"/>
              </a:rPr>
              <a:t>Landscaping</a:t>
            </a:r>
            <a:endParaRPr lang="fr-BE" sz="1200" dirty="0">
              <a:solidFill>
                <a:schemeClr val="bg1"/>
              </a:solidFill>
              <a:latin typeface="Tahoma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304598" y="2636912"/>
            <a:ext cx="4443848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Identification of rail track or road</a:t>
            </a:r>
          </a:p>
          <a:p>
            <a:pPr marL="342900" indent="-342900">
              <a:buAutoNum type="arabicPeriod"/>
            </a:pPr>
            <a:r>
              <a:rPr lang="en-US" dirty="0"/>
              <a:t>Soil analysis of overburden</a:t>
            </a:r>
          </a:p>
          <a:p>
            <a:pPr marL="342900" indent="-342900">
              <a:buAutoNum type="arabicPeriod"/>
            </a:pPr>
            <a:r>
              <a:rPr lang="en-US" dirty="0"/>
              <a:t>Purchase of lime</a:t>
            </a:r>
          </a:p>
          <a:p>
            <a:pPr marL="342900" indent="-342900">
              <a:buAutoNum type="arabicPeriod"/>
            </a:pPr>
            <a:r>
              <a:rPr lang="en-US" dirty="0"/>
              <a:t>Soil transport on-site</a:t>
            </a:r>
          </a:p>
          <a:p>
            <a:pPr marL="342900" indent="-342900">
              <a:buAutoNum type="arabicPeriod"/>
            </a:pPr>
            <a:r>
              <a:rPr lang="en-US" dirty="0"/>
              <a:t>Soil mixing &amp; compaction</a:t>
            </a:r>
          </a:p>
        </p:txBody>
      </p:sp>
      <p:pic>
        <p:nvPicPr>
          <p:cNvPr id="22" name="Picture 2">
            <a:hlinkClick r:id="rId7" action="ppaction://hlinkfile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5798" y="4610793"/>
            <a:ext cx="4764731" cy="21313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Picture 4" descr="Camion citerne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58" b="17642"/>
          <a:stretch/>
        </p:blipFill>
        <p:spPr bwMode="auto">
          <a:xfrm>
            <a:off x="8751938" y="3052770"/>
            <a:ext cx="1230320" cy="736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/>
          <p:cNvSpPr txBox="1"/>
          <p:nvPr/>
        </p:nvSpPr>
        <p:spPr>
          <a:xfrm rot="828573">
            <a:off x="9395143" y="3353964"/>
            <a:ext cx="8640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800" b="1" dirty="0" err="1"/>
              <a:t>ViaCalco</a:t>
            </a:r>
            <a:endParaRPr lang="fr-BE" sz="800" b="1" dirty="0"/>
          </a:p>
        </p:txBody>
      </p:sp>
      <p:cxnSp>
        <p:nvCxnSpPr>
          <p:cNvPr id="33" name="Straight Connector 32"/>
          <p:cNvCxnSpPr/>
          <p:nvPr/>
        </p:nvCxnSpPr>
        <p:spPr bwMode="auto">
          <a:xfrm>
            <a:off x="4151784" y="2039901"/>
            <a:ext cx="1399682" cy="1868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Straight Connector 33"/>
          <p:cNvCxnSpPr/>
          <p:nvPr/>
        </p:nvCxnSpPr>
        <p:spPr bwMode="auto">
          <a:xfrm>
            <a:off x="4289488" y="2198096"/>
            <a:ext cx="101511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Straight Connector 34"/>
          <p:cNvCxnSpPr/>
          <p:nvPr/>
        </p:nvCxnSpPr>
        <p:spPr bwMode="auto">
          <a:xfrm>
            <a:off x="4464204" y="2348880"/>
            <a:ext cx="576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/>
          <p:cNvCxnSpPr/>
          <p:nvPr/>
        </p:nvCxnSpPr>
        <p:spPr bwMode="auto">
          <a:xfrm>
            <a:off x="7320136" y="2060849"/>
            <a:ext cx="1584176" cy="1868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Straight Connector 36"/>
          <p:cNvCxnSpPr/>
          <p:nvPr/>
        </p:nvCxnSpPr>
        <p:spPr bwMode="auto">
          <a:xfrm>
            <a:off x="7685026" y="2191330"/>
            <a:ext cx="750514" cy="1353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tangle 37"/>
          <p:cNvSpPr/>
          <p:nvPr/>
        </p:nvSpPr>
        <p:spPr bwMode="auto">
          <a:xfrm>
            <a:off x="1503764" y="4479147"/>
            <a:ext cx="5032552" cy="232449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BE" sz="2400">
              <a:latin typeface="Tahoma" pitchFamily="34" charset="0"/>
            </a:endParaRPr>
          </a:p>
        </p:txBody>
      </p:sp>
      <p:sp>
        <p:nvSpPr>
          <p:cNvPr id="39" name="Slide Number Placeholder 3">
            <a:extLst>
              <a:ext uri="{FF2B5EF4-FFF2-40B4-BE49-F238E27FC236}">
                <a16:creationId xmlns:a16="http://schemas.microsoft.com/office/drawing/2014/main" id="{F8D34F14-ACE3-3ED4-F1B2-13A471883FD0}"/>
              </a:ext>
            </a:extLst>
          </p:cNvPr>
          <p:cNvSpPr txBox="1">
            <a:spLocks/>
          </p:cNvSpPr>
          <p:nvPr/>
        </p:nvSpPr>
        <p:spPr>
          <a:xfrm>
            <a:off x="7824789" y="5151156"/>
            <a:ext cx="935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B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endParaRPr lang="fr-BE" dirty="0"/>
          </a:p>
        </p:txBody>
      </p:sp>
      <p:pic>
        <p:nvPicPr>
          <p:cNvPr id="40" name="Kép 14">
            <a:extLst>
              <a:ext uri="{FF2B5EF4-FFF2-40B4-BE49-F238E27FC236}">
                <a16:creationId xmlns:a16="http://schemas.microsoft.com/office/drawing/2014/main" id="{135EAF1F-DA25-6CA1-F534-CD90F7B6841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0788" y="5192256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Kép 15">
            <a:extLst>
              <a:ext uri="{FF2B5EF4-FFF2-40B4-BE49-F238E27FC236}">
                <a16:creationId xmlns:a16="http://schemas.microsoft.com/office/drawing/2014/main" id="{F07F60B0-7A71-EE35-F196-64CE1C8EC23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1501" y="5187493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Kép 16">
            <a:extLst>
              <a:ext uri="{FF2B5EF4-FFF2-40B4-BE49-F238E27FC236}">
                <a16:creationId xmlns:a16="http://schemas.microsoft.com/office/drawing/2014/main" id="{AAD588DB-687B-FBC2-BFFB-42BD98D5735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4272" y="5195431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Kép 17">
            <a:extLst>
              <a:ext uri="{FF2B5EF4-FFF2-40B4-BE49-F238E27FC236}">
                <a16:creationId xmlns:a16="http://schemas.microsoft.com/office/drawing/2014/main" id="{AF029902-D008-C772-88E0-4285185D6AA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01" y="5195431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Kép 18">
            <a:extLst>
              <a:ext uri="{FF2B5EF4-FFF2-40B4-BE49-F238E27FC236}">
                <a16:creationId xmlns:a16="http://schemas.microsoft.com/office/drawing/2014/main" id="{DEBF22A2-A96B-06E2-F23E-0B695C9DE5D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6177" y="5195431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Kép 19">
            <a:extLst>
              <a:ext uri="{FF2B5EF4-FFF2-40B4-BE49-F238E27FC236}">
                <a16:creationId xmlns:a16="http://schemas.microsoft.com/office/drawing/2014/main" id="{75F7AAF7-5940-56BF-C7B6-19EB442D2BE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8476" y="5187493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Kép 14">
            <a:extLst>
              <a:ext uri="{FF2B5EF4-FFF2-40B4-BE49-F238E27FC236}">
                <a16:creationId xmlns:a16="http://schemas.microsoft.com/office/drawing/2014/main" id="{95042450-3F12-4E27-9BA7-CAC364491A7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2368" y="4688200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Kép 15">
            <a:extLst>
              <a:ext uri="{FF2B5EF4-FFF2-40B4-BE49-F238E27FC236}">
                <a16:creationId xmlns:a16="http://schemas.microsoft.com/office/drawing/2014/main" id="{BDD3AF04-6558-07AC-03B7-77242E1E960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3081" y="4683437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Kép 16">
            <a:extLst>
              <a:ext uri="{FF2B5EF4-FFF2-40B4-BE49-F238E27FC236}">
                <a16:creationId xmlns:a16="http://schemas.microsoft.com/office/drawing/2014/main" id="{5CB8187D-9D54-D2D4-E1F5-9B08D2E0963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1093" y="4691375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Kép 17">
            <a:extLst>
              <a:ext uri="{FF2B5EF4-FFF2-40B4-BE49-F238E27FC236}">
                <a16:creationId xmlns:a16="http://schemas.microsoft.com/office/drawing/2014/main" id="{5D5BA6A6-16E0-7B05-E1AB-68E053DD212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4982" y="4691375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Kép 18">
            <a:extLst>
              <a:ext uri="{FF2B5EF4-FFF2-40B4-BE49-F238E27FC236}">
                <a16:creationId xmlns:a16="http://schemas.microsoft.com/office/drawing/2014/main" id="{D0AF040A-9A51-F340-98F4-67675CDDDC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7757" y="4691375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Kép 19">
            <a:extLst>
              <a:ext uri="{FF2B5EF4-FFF2-40B4-BE49-F238E27FC236}">
                <a16:creationId xmlns:a16="http://schemas.microsoft.com/office/drawing/2014/main" id="{D911AFE8-D5D8-19E2-02E8-15DF071849F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0056" y="4683437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66446FB-50FC-260C-C34F-38F9C8E0997D}"/>
              </a:ext>
            </a:extLst>
          </p:cNvPr>
          <p:cNvSpPr txBox="1">
            <a:spLocks/>
          </p:cNvSpPr>
          <p:nvPr/>
        </p:nvSpPr>
        <p:spPr>
          <a:xfrm>
            <a:off x="495021" y="728174"/>
            <a:ext cx="10540590" cy="954107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/>
              <a:t>SOIL</a:t>
            </a:r>
            <a:br>
              <a:rPr lang="hu-HU" dirty="0"/>
            </a:br>
            <a:r>
              <a:rPr lang="hu-HU" dirty="0"/>
              <a:t>TREAT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291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26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4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16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6" presetClass="exit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7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4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4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8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8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8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8" fill="hold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2700"/>
                            </p:stCondLst>
                            <p:childTnLst>
                              <p:par>
                                <p:cTn id="118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3200"/>
                            </p:stCondLst>
                            <p:childTnLst>
                              <p:par>
                                <p:cTn id="123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7" fill="hold">
                            <p:stCondLst>
                              <p:cond delay="3700"/>
                            </p:stCondLst>
                            <p:childTnLst>
                              <p:par>
                                <p:cTn id="128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0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1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4200"/>
                            </p:stCondLst>
                            <p:childTnLst>
                              <p:par>
                                <p:cTn id="133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4700"/>
                            </p:stCondLst>
                            <p:childTnLst>
                              <p:par>
                                <p:cTn id="138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>
                            <p:stCondLst>
                              <p:cond delay="5200"/>
                            </p:stCondLst>
                            <p:childTnLst>
                              <p:par>
                                <p:cTn id="143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4" grpId="0" animBg="1"/>
      <p:bldP spid="16" grpId="0" animBg="1"/>
      <p:bldP spid="18" grpId="0" animBg="1"/>
      <p:bldP spid="19" grpId="0" animBg="1"/>
      <p:bldP spid="20" grpId="0" animBg="1"/>
      <p:bldP spid="32" grpId="0"/>
      <p:bldP spid="3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latin typeface="DIN Offc" panose="020B0504020101020102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volution Soil Mixing Equipment – made it happen</a:t>
            </a:r>
          </a:p>
        </p:txBody>
      </p:sp>
      <p:sp>
        <p:nvSpPr>
          <p:cNvPr id="6" name="Striped Right Arrow 5"/>
          <p:cNvSpPr/>
          <p:nvPr/>
        </p:nvSpPr>
        <p:spPr bwMode="auto">
          <a:xfrm>
            <a:off x="1703512" y="5953228"/>
            <a:ext cx="8856984" cy="709016"/>
          </a:xfrm>
          <a:prstGeom prst="striped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BE" sz="2400" dirty="0">
              <a:latin typeface="Tahoma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847528" y="6159960"/>
            <a:ext cx="792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b="1" dirty="0">
                <a:solidFill>
                  <a:schemeClr val="bg1"/>
                </a:solidFill>
              </a:rPr>
              <a:t>1948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007768" y="6159960"/>
            <a:ext cx="792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b="1" dirty="0">
                <a:solidFill>
                  <a:schemeClr val="bg1"/>
                </a:solidFill>
              </a:rPr>
              <a:t>1980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231904" y="6158351"/>
            <a:ext cx="792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b="1" dirty="0">
                <a:solidFill>
                  <a:schemeClr val="bg1"/>
                </a:solidFill>
              </a:rPr>
              <a:t>1990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783632" y="6144707"/>
            <a:ext cx="792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b="1" dirty="0">
                <a:solidFill>
                  <a:schemeClr val="bg1"/>
                </a:solidFill>
              </a:rPr>
              <a:t>1967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584598" y="6159960"/>
            <a:ext cx="3672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2000 </a:t>
            </a:r>
            <a:r>
              <a:rPr lang="en-US" sz="1400" dirty="0">
                <a:solidFill>
                  <a:schemeClr val="bg1"/>
                </a:solidFill>
              </a:rPr>
              <a:t>– always better, more performant</a:t>
            </a:r>
          </a:p>
        </p:txBody>
      </p:sp>
      <p:pic>
        <p:nvPicPr>
          <p:cNvPr id="12" name="Picture 4" descr="1 P&amp;H  copie copi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2684" y="2217372"/>
            <a:ext cx="5570832" cy="2736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5 charrue Rome 1967 - copie copi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600" y="2131985"/>
            <a:ext cx="5086236" cy="3343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 bwMode="auto">
          <a:xfrm>
            <a:off x="2495601" y="2131985"/>
            <a:ext cx="6615791" cy="334384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BE" sz="2400">
              <a:latin typeface="Tahoma" pitchFamily="34" charset="0"/>
            </a:endParaRPr>
          </a:p>
        </p:txBody>
      </p:sp>
      <p:pic>
        <p:nvPicPr>
          <p:cNvPr id="15" name="Picture 6" descr="2 Cat RR 250 - copi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1128" y="1449853"/>
            <a:ext cx="6119674" cy="4254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/>
          <p:cNvSpPr/>
          <p:nvPr/>
        </p:nvSpPr>
        <p:spPr bwMode="auto">
          <a:xfrm>
            <a:off x="1102407" y="1296306"/>
            <a:ext cx="7318395" cy="461123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BE" sz="2400">
              <a:latin typeface="Tahoma" pitchFamily="34" charset="0"/>
            </a:endParaRPr>
          </a:p>
        </p:txBody>
      </p:sp>
      <p:pic>
        <p:nvPicPr>
          <p:cNvPr id="17" name="Picture 2" descr="13 WS_3 - copie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4798" y="1392104"/>
            <a:ext cx="3781425" cy="220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0" descr="8 wr250_00852_pr~1 - copie copie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4797" y="3720085"/>
            <a:ext cx="3781425" cy="224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2" descr="12  Bomag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1671" y="1819177"/>
            <a:ext cx="4024329" cy="2513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2076663" y="4582006"/>
            <a:ext cx="4032448" cy="646331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BE" b="1" dirty="0">
                <a:solidFill>
                  <a:schemeClr val="bg1"/>
                </a:solidFill>
              </a:rPr>
              <a:t>ACTUAL &amp; </a:t>
            </a:r>
          </a:p>
          <a:p>
            <a:pPr algn="ctr"/>
            <a:r>
              <a:rPr lang="fr-BE" b="1" dirty="0">
                <a:solidFill>
                  <a:schemeClr val="bg1"/>
                </a:solidFill>
              </a:rPr>
              <a:t>MODERN TECHNOLOGY</a:t>
            </a:r>
          </a:p>
        </p:txBody>
      </p:sp>
    </p:spTree>
    <p:extLst>
      <p:ext uri="{BB962C8B-B14F-4D97-AF65-F5344CB8AC3E}">
        <p14:creationId xmlns:p14="http://schemas.microsoft.com/office/powerpoint/2010/main" val="3133352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heel(1)">
                                      <p:cBhvr>
                                        <p:cTn id="6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5" dur="12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200"/>
                            </p:stCondLst>
                            <p:childTnLst>
                              <p:par>
                                <p:cTn id="4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700"/>
                            </p:stCondLst>
                            <p:childTnLst>
                              <p:par>
                                <p:cTn id="5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200"/>
                            </p:stCondLst>
                            <p:childTnLst>
                              <p:par>
                                <p:cTn id="5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1" grpId="0"/>
      <p:bldP spid="14" grpId="0" animBg="1"/>
      <p:bldP spid="16" grpId="0" animBg="1"/>
      <p:bldP spid="2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0D0F67E-9B1D-2482-C0C0-48DF59DBBD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0D0F67E-9B1D-2482-C0C0-48DF59DBB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2C9179D4-FAD7-740C-4744-19C388339114}"/>
              </a:ext>
            </a:extLst>
          </p:cNvPr>
          <p:cNvSpPr/>
          <p:nvPr/>
        </p:nvSpPr>
        <p:spPr>
          <a:xfrm>
            <a:off x="1241659" y="1633960"/>
            <a:ext cx="10784884" cy="834220"/>
          </a:xfrm>
          <a:prstGeom prst="chevron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808038"/>
            <a:r>
              <a:rPr lang="en-US" sz="2800" b="1" dirty="0"/>
              <a:t> 	</a:t>
            </a:r>
            <a:endParaRPr lang="en-BE" sz="2800" b="1" dirty="0"/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A6F553A4-9EAE-6678-932F-19C9ADC4C154}"/>
              </a:ext>
            </a:extLst>
          </p:cNvPr>
          <p:cNvSpPr/>
          <p:nvPr/>
        </p:nvSpPr>
        <p:spPr>
          <a:xfrm>
            <a:off x="6639729" y="5350837"/>
            <a:ext cx="5386814" cy="834220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808038"/>
            <a:endParaRPr lang="en-BE" sz="2800" b="1"/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3CF217EB-999D-9E37-D2CA-E2D8F68591C1}"/>
              </a:ext>
            </a:extLst>
          </p:cNvPr>
          <p:cNvSpPr/>
          <p:nvPr/>
        </p:nvSpPr>
        <p:spPr>
          <a:xfrm>
            <a:off x="5165933" y="4432118"/>
            <a:ext cx="6860610" cy="834220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808038"/>
            <a:endParaRPr lang="en-BE" sz="2800" b="1"/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F7D3988C-9537-BAEC-0FF1-95B02B5FD0DC}"/>
              </a:ext>
            </a:extLst>
          </p:cNvPr>
          <p:cNvSpPr/>
          <p:nvPr/>
        </p:nvSpPr>
        <p:spPr>
          <a:xfrm>
            <a:off x="3756679" y="3498905"/>
            <a:ext cx="8269864" cy="834220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808038"/>
            <a:endParaRPr lang="en-BE" sz="2800" b="1"/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B24AD69B-D6C5-249C-E4FE-0C02258CB0C9}"/>
              </a:ext>
            </a:extLst>
          </p:cNvPr>
          <p:cNvSpPr/>
          <p:nvPr/>
        </p:nvSpPr>
        <p:spPr>
          <a:xfrm>
            <a:off x="2358189" y="2560558"/>
            <a:ext cx="9668354" cy="834220"/>
          </a:xfrm>
          <a:prstGeom prst="chevron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808038"/>
            <a:endParaRPr lang="en-BE" sz="2800" b="1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324C947-46B3-971A-223D-7640B41207F7}"/>
              </a:ext>
            </a:extLst>
          </p:cNvPr>
          <p:cNvSpPr/>
          <p:nvPr/>
        </p:nvSpPr>
        <p:spPr>
          <a:xfrm>
            <a:off x="2702594" y="1635797"/>
            <a:ext cx="9256576" cy="8056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en-US" sz="2800" b="1" dirty="0"/>
              <a:t>First Use in America –&gt; US Army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6DDE4BD-CEA6-729C-68DF-2B903CDEF076}"/>
              </a:ext>
            </a:extLst>
          </p:cNvPr>
          <p:cNvSpPr/>
          <p:nvPr/>
        </p:nvSpPr>
        <p:spPr>
          <a:xfrm>
            <a:off x="3756681" y="2568269"/>
            <a:ext cx="8269863" cy="80560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2800" b="1" dirty="0"/>
              <a:t>Highways Franc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58458A0-9A29-D617-D78F-E981BB9C25E1}"/>
              </a:ext>
            </a:extLst>
          </p:cNvPr>
          <p:cNvSpPr/>
          <p:nvPr/>
        </p:nvSpPr>
        <p:spPr>
          <a:xfrm>
            <a:off x="4985886" y="3500742"/>
            <a:ext cx="7040659" cy="8056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en-US" sz="2800" b="1" dirty="0"/>
              <a:t>High Speed Railwa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05D17C3-C8A2-186A-E26B-71A41B7CE778}"/>
              </a:ext>
            </a:extLst>
          </p:cNvPr>
          <p:cNvSpPr/>
          <p:nvPr/>
        </p:nvSpPr>
        <p:spPr>
          <a:xfrm>
            <a:off x="6130918" y="4433214"/>
            <a:ext cx="5895625" cy="8056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en-US" sz="2800" b="1" dirty="0"/>
              <a:t>Airports, industrial areas, …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BDA2E28-F13C-EDB2-6EEB-8E6CFE303BDC}"/>
              </a:ext>
            </a:extLst>
          </p:cNvPr>
          <p:cNvSpPr/>
          <p:nvPr/>
        </p:nvSpPr>
        <p:spPr>
          <a:xfrm>
            <a:off x="7757964" y="5363589"/>
            <a:ext cx="4075820" cy="8056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en-US" sz="2800" b="1" dirty="0"/>
              <a:t>Waterways &amp; dikes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29AACE56-1B5F-9F44-668B-42828BA49F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Historical evolution </a:t>
            </a:r>
            <a:r>
              <a:rPr lang="hu-HU" dirty="0"/>
              <a:t>- </a:t>
            </a:r>
            <a:r>
              <a:rPr lang="en-US" dirty="0">
                <a:solidFill>
                  <a:srgbClr val="00B0F0"/>
                </a:solidFill>
              </a:rPr>
              <a:t>Europ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FBB003F-250F-5E3D-FD55-BCF4A2DC34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26079" y="2683910"/>
            <a:ext cx="678780" cy="6234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6782B0E-0CD0-5774-9591-6DCEF7B9694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28161" y="3566925"/>
            <a:ext cx="648100" cy="69818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1C2C21A-5BC0-659D-CCCB-11DD0AB011E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27571" y="4511868"/>
            <a:ext cx="657725" cy="65772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9E661FF-0B94-6D8D-E42E-94E54C937EAF}"/>
              </a:ext>
            </a:extLst>
          </p:cNvPr>
          <p:cNvSpPr/>
          <p:nvPr/>
        </p:nvSpPr>
        <p:spPr>
          <a:xfrm>
            <a:off x="1483014" y="2568269"/>
            <a:ext cx="1321923" cy="80560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2800" b="1" dirty="0">
                <a:solidFill>
                  <a:schemeClr val="tx1"/>
                </a:solidFill>
              </a:rPr>
              <a:t>1960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4CA7A34-AC8A-44DD-7541-CB8088A5968D}"/>
              </a:ext>
            </a:extLst>
          </p:cNvPr>
          <p:cNvSpPr/>
          <p:nvPr/>
        </p:nvSpPr>
        <p:spPr>
          <a:xfrm>
            <a:off x="2712219" y="3500742"/>
            <a:ext cx="7040659" cy="8056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en-US" sz="2800" b="1">
                <a:solidFill>
                  <a:schemeClr val="accent1"/>
                </a:solidFill>
              </a:rPr>
              <a:t>199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E03C6DC-FA37-FB23-59EF-4C5773FB386A}"/>
              </a:ext>
            </a:extLst>
          </p:cNvPr>
          <p:cNvSpPr/>
          <p:nvPr/>
        </p:nvSpPr>
        <p:spPr>
          <a:xfrm>
            <a:off x="3963129" y="4433214"/>
            <a:ext cx="1308682" cy="8056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en-US" sz="2800" b="1">
                <a:solidFill>
                  <a:schemeClr val="tx2"/>
                </a:solidFill>
              </a:rPr>
              <a:t>2000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6C77905-EC17-82E0-6AB9-B59FDAED932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50735" y="5419024"/>
            <a:ext cx="695533" cy="69553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0B5FC482-65D2-11EB-C651-23BD705AD9F4}"/>
              </a:ext>
            </a:extLst>
          </p:cNvPr>
          <p:cNvSpPr/>
          <p:nvPr/>
        </p:nvSpPr>
        <p:spPr>
          <a:xfrm>
            <a:off x="5410200" y="5367627"/>
            <a:ext cx="1403527" cy="8056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en-US" sz="2800" b="1" dirty="0">
                <a:solidFill>
                  <a:schemeClr val="accent2"/>
                </a:solidFill>
              </a:rPr>
              <a:t>2024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B430B50-D6D1-ADF0-4924-B4B074F05E6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08982" y="1769617"/>
            <a:ext cx="845489" cy="603846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12D2C982-A2D5-BF4C-F15A-53624970F01C}"/>
              </a:ext>
            </a:extLst>
          </p:cNvPr>
          <p:cNvSpPr/>
          <p:nvPr/>
        </p:nvSpPr>
        <p:spPr>
          <a:xfrm>
            <a:off x="203955" y="1632307"/>
            <a:ext cx="1321923" cy="80560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2800" b="1" dirty="0">
                <a:solidFill>
                  <a:schemeClr val="tx1"/>
                </a:solidFill>
              </a:rPr>
              <a:t>1904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D2BDA8C-5ED0-C107-05BD-8C4F76B1BC1A}"/>
              </a:ext>
            </a:extLst>
          </p:cNvPr>
          <p:cNvSpPr/>
          <p:nvPr/>
        </p:nvSpPr>
        <p:spPr>
          <a:xfrm>
            <a:off x="7438988" y="2575980"/>
            <a:ext cx="4587555" cy="80560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2000" b="1" i="1" dirty="0">
                <a:solidFill>
                  <a:schemeClr val="bg1"/>
                </a:solidFill>
              </a:rPr>
              <a:t>Central Europe =&gt; after 2000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B2A845-4C75-95ED-7510-5587086F9DE7}"/>
              </a:ext>
            </a:extLst>
          </p:cNvPr>
          <p:cNvSpPr txBox="1"/>
          <p:nvPr/>
        </p:nvSpPr>
        <p:spPr>
          <a:xfrm>
            <a:off x="130852" y="0"/>
            <a:ext cx="61016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031927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15BDB9FD-C82C-84A3-B67A-DA9638C43B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15BDB9FD-C82C-84A3-B67A-DA9638C43B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DF8BF7-49ED-8266-29B4-88DCB47FB9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6210" y="676811"/>
            <a:ext cx="10540590" cy="954107"/>
          </a:xfrm>
        </p:spPr>
        <p:txBody>
          <a:bodyPr/>
          <a:lstStyle/>
          <a:p>
            <a:r>
              <a:rPr lang="en-US" dirty="0"/>
              <a:t>Always supply to </a:t>
            </a:r>
            <a:r>
              <a:rPr lang="en-US" dirty="0">
                <a:solidFill>
                  <a:srgbClr val="00B0F0"/>
                </a:solidFill>
              </a:rPr>
              <a:t>larger sized mega-projects</a:t>
            </a:r>
          </a:p>
          <a:p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FCAFA705-E2B7-DA64-7B23-494FEDAB12E3}"/>
              </a:ext>
            </a:extLst>
          </p:cNvPr>
          <p:cNvGraphicFramePr>
            <a:graphicFrameLocks/>
          </p:cNvGraphicFramePr>
          <p:nvPr/>
        </p:nvGraphicFramePr>
        <p:xfrm>
          <a:off x="1615432" y="1274913"/>
          <a:ext cx="8117058" cy="39811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F2FBF50C-AAFE-D6BC-3B15-DE2EF57ABD7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2415" y="5640883"/>
            <a:ext cx="3986628" cy="41832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4D01DB63-1A8F-AF03-E99F-B588C5E0339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64136" y="5662570"/>
            <a:ext cx="5095561" cy="41323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CEB9E90-3DC5-6EDD-5CBF-78D7B62B0E9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38015" y="5159666"/>
            <a:ext cx="3788950" cy="440593"/>
          </a:xfrm>
          <a:prstGeom prst="rect">
            <a:avLst/>
          </a:prstGeom>
        </p:spPr>
      </p:pic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A3F5570F-2B49-F210-47BE-60FA1EB7B077}"/>
              </a:ext>
            </a:extLst>
          </p:cNvPr>
          <p:cNvSpPr/>
          <p:nvPr/>
        </p:nvSpPr>
        <p:spPr>
          <a:xfrm>
            <a:off x="1148079" y="6220811"/>
            <a:ext cx="9006450" cy="395990"/>
          </a:xfrm>
          <a:prstGeom prst="chevron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808038"/>
            <a:r>
              <a:rPr lang="en-US" sz="2800" b="1" dirty="0"/>
              <a:t> 	</a:t>
            </a:r>
            <a:endParaRPr lang="en-BE" sz="2800" b="1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EEE72CD-8EFE-2EBE-9312-83B960B98386}"/>
              </a:ext>
            </a:extLst>
          </p:cNvPr>
          <p:cNvSpPr/>
          <p:nvPr/>
        </p:nvSpPr>
        <p:spPr>
          <a:xfrm>
            <a:off x="2037471" y="6001098"/>
            <a:ext cx="7880252" cy="8056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en-US" sz="1400" b="1" dirty="0"/>
              <a:t>As know-how evolved:  L – XL – XXL =&gt; Know-how = “Code of Good Practice”</a:t>
            </a:r>
          </a:p>
        </p:txBody>
      </p:sp>
      <p:graphicFrame>
        <p:nvGraphicFramePr>
          <p:cNvPr id="30" name="Table 27">
            <a:extLst>
              <a:ext uri="{FF2B5EF4-FFF2-40B4-BE49-F238E27FC236}">
                <a16:creationId xmlns:a16="http://schemas.microsoft.com/office/drawing/2014/main" id="{CAB13533-A2B8-A60C-F062-C2BA8F807C25}"/>
              </a:ext>
            </a:extLst>
          </p:cNvPr>
          <p:cNvGraphicFramePr>
            <a:graphicFrameLocks noGrp="1"/>
          </p:cNvGraphicFramePr>
          <p:nvPr/>
        </p:nvGraphicFramePr>
        <p:xfrm>
          <a:off x="9722736" y="2106158"/>
          <a:ext cx="2239010" cy="187778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60718">
                  <a:extLst>
                    <a:ext uri="{9D8B030D-6E8A-4147-A177-3AD203B41FA5}">
                      <a16:colId xmlns:a16="http://schemas.microsoft.com/office/drawing/2014/main" val="2260695862"/>
                    </a:ext>
                  </a:extLst>
                </a:gridCol>
                <a:gridCol w="1578292">
                  <a:extLst>
                    <a:ext uri="{9D8B030D-6E8A-4147-A177-3AD203B41FA5}">
                      <a16:colId xmlns:a16="http://schemas.microsoft.com/office/drawing/2014/main" val="4099840713"/>
                    </a:ext>
                  </a:extLst>
                </a:gridCol>
              </a:tblGrid>
              <a:tr h="494661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iz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Tons/Proje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2732294"/>
                  </a:ext>
                </a:extLst>
              </a:tr>
              <a:tr h="338096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&gt;1.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1914586"/>
                  </a:ext>
                </a:extLst>
              </a:tr>
              <a:tr h="359229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X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&gt;10.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8044679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XX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&gt;100.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5774951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3X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&gt;1.000.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8233262"/>
                  </a:ext>
                </a:extLst>
              </a:tr>
            </a:tbl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F7AFCF09-154C-BFA5-17BB-73E5E5ECF168}"/>
              </a:ext>
            </a:extLst>
          </p:cNvPr>
          <p:cNvSpPr txBox="1"/>
          <p:nvPr/>
        </p:nvSpPr>
        <p:spPr>
          <a:xfrm>
            <a:off x="5244505" y="1934688"/>
            <a:ext cx="31596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/>
              <a:t>Highway : </a:t>
            </a:r>
            <a:r>
              <a:rPr lang="en-US" sz="1400" b="1" dirty="0"/>
              <a:t>Gelibolu-project</a:t>
            </a:r>
            <a:r>
              <a:rPr lang="en-US" sz="1400" dirty="0"/>
              <a:t> TR</a:t>
            </a:r>
          </a:p>
          <a:p>
            <a:pPr algn="r"/>
            <a:r>
              <a:rPr lang="en-US" sz="1400" dirty="0"/>
              <a:t>300.000 T in 2Y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74BB394E-6E77-DD4D-64BD-E9AD5281043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02474" y="4318782"/>
            <a:ext cx="395254" cy="425796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5DB2C2D-9016-D810-2181-2E3C8556F2F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77925" y="4175242"/>
            <a:ext cx="440593" cy="440593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835AF72C-790B-9805-718C-3D544867D412}"/>
              </a:ext>
            </a:extLst>
          </p:cNvPr>
          <p:cNvSpPr txBox="1"/>
          <p:nvPr/>
        </p:nvSpPr>
        <p:spPr>
          <a:xfrm rot="16200000">
            <a:off x="663136" y="2345714"/>
            <a:ext cx="15193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</a:rPr>
              <a:t>KT/Y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5A39956-C9E0-FE02-C8E3-68612EDA9C71}"/>
              </a:ext>
            </a:extLst>
          </p:cNvPr>
          <p:cNvSpPr txBox="1"/>
          <p:nvPr/>
        </p:nvSpPr>
        <p:spPr>
          <a:xfrm rot="16200000">
            <a:off x="8217976" y="3071538"/>
            <a:ext cx="17006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Canal-Seine-Nord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BC660775-D080-C45A-B682-8E1A1F65030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76648" y="4307763"/>
            <a:ext cx="299232" cy="274829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AD302C89-61A2-E862-DE20-7043C60B808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72421" y="4385788"/>
            <a:ext cx="299232" cy="274829"/>
          </a:xfrm>
          <a:prstGeom prst="rect">
            <a:avLst/>
          </a:prstGeom>
          <a:noFill/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7B3D1F3A-CAFC-6999-BF7D-142E8FEDB0AA}"/>
              </a:ext>
            </a:extLst>
          </p:cNvPr>
          <p:cNvSpPr txBox="1"/>
          <p:nvPr/>
        </p:nvSpPr>
        <p:spPr>
          <a:xfrm>
            <a:off x="6215504" y="2710847"/>
            <a:ext cx="20569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Start soil stab in Central EU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A8DA96A-7AFC-6643-2D11-4E7031CBB9B8}"/>
              </a:ext>
            </a:extLst>
          </p:cNvPr>
          <p:cNvSpPr txBox="1"/>
          <p:nvPr/>
        </p:nvSpPr>
        <p:spPr>
          <a:xfrm>
            <a:off x="6908230" y="1391805"/>
            <a:ext cx="11146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sz="1200" dirty="0">
                <a:solidFill>
                  <a:schemeClr val="bg1"/>
                </a:solidFill>
              </a:rPr>
              <a:t>Blend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15979D2-AF95-687C-3CFC-8B05F9CAC921}"/>
              </a:ext>
            </a:extLst>
          </p:cNvPr>
          <p:cNvSpPr txBox="1"/>
          <p:nvPr/>
        </p:nvSpPr>
        <p:spPr>
          <a:xfrm>
            <a:off x="9790253" y="578734"/>
            <a:ext cx="2054506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dirty="0">
                <a:highlight>
                  <a:srgbClr val="FFFF00"/>
                </a:highlight>
                <a:ea typeface="Tahoma"/>
                <a:cs typeface="Tahoma"/>
              </a:rPr>
              <a:t>Debrecen</a:t>
            </a: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E2A17E-9DA3-58FE-EF1B-68A59EDAEE71}"/>
              </a:ext>
            </a:extLst>
          </p:cNvPr>
          <p:cNvSpPr txBox="1"/>
          <p:nvPr/>
        </p:nvSpPr>
        <p:spPr>
          <a:xfrm>
            <a:off x="130852" y="0"/>
            <a:ext cx="61016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25629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E6F3C37-2EBE-D945-5189-B967FCCA25AF}"/>
              </a:ext>
            </a:extLst>
          </p:cNvPr>
          <p:cNvSpPr/>
          <p:nvPr/>
        </p:nvSpPr>
        <p:spPr>
          <a:xfrm>
            <a:off x="1345253" y="3610594"/>
            <a:ext cx="5888052" cy="2183455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050245A-9629-4118-9867-D239A90BE7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tinuous evolu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7A796D1-06AC-4E88-83B1-B04A1B4DCF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Know-how: </a:t>
            </a:r>
            <a:r>
              <a:rPr lang="en-US" dirty="0">
                <a:solidFill>
                  <a:srgbClr val="00B0F0"/>
                </a:solidFill>
              </a:rPr>
              <a:t>Codes of Good Practice</a:t>
            </a:r>
          </a:p>
        </p:txBody>
      </p:sp>
      <p:pic>
        <p:nvPicPr>
          <p:cNvPr id="3076" name="Picture 4" descr="Amazon.fr - Traitement des sols à la chaux et/ou aux liants hydrauliques:  Application à la réalisation des remblais et des couches de forme, guide  technique - LCPC - Livres">
            <a:extLst>
              <a:ext uri="{FF2B5EF4-FFF2-40B4-BE49-F238E27FC236}">
                <a16:creationId xmlns:a16="http://schemas.microsoft.com/office/drawing/2014/main" id="{CA507097-6089-4DC2-A9B2-0B124E35BE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771" y="2240684"/>
            <a:ext cx="2233056" cy="320453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B2D5369-5F2F-4795-967C-2AE1E50740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1420" y="2240681"/>
            <a:ext cx="2269655" cy="320453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Picture 12" descr="Stabilizzazione delle terre con calce – Laboratorio Geomeccanico Orazi">
            <a:extLst>
              <a:ext uri="{FF2B5EF4-FFF2-40B4-BE49-F238E27FC236}">
                <a16:creationId xmlns:a16="http://schemas.microsoft.com/office/drawing/2014/main" id="{76065830-6932-CB5D-64D4-59EACD6409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7668" y="2240681"/>
            <a:ext cx="2264539" cy="320453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Content Placeholder 6" descr="A picture containing text, businesscard&#10;&#10;Description automatically generated">
            <a:extLst>
              <a:ext uri="{FF2B5EF4-FFF2-40B4-BE49-F238E27FC236}">
                <a16:creationId xmlns:a16="http://schemas.microsoft.com/office/drawing/2014/main" id="{B20279CF-48F1-EC1E-A180-FF7E2E0294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118" y="1520980"/>
            <a:ext cx="3151111" cy="44226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4AD42C-E0C7-67F2-5DAE-E9B626AB34B7}"/>
              </a:ext>
            </a:extLst>
          </p:cNvPr>
          <p:cNvSpPr txBox="1">
            <a:spLocks noGrp="1"/>
          </p:cNvSpPr>
          <p:nvPr>
            <p:ph type="body" sz="quarter" idx="27"/>
          </p:nvPr>
        </p:nvSpPr>
        <p:spPr>
          <a:xfrm>
            <a:off x="171450" y="17463"/>
            <a:ext cx="11537950" cy="3381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2170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5A796AB-F5A5-A68B-3993-E6EC424A85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ega-Project – starting soon – experimental sites on-go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5A4CD5-47C7-BD75-F163-2BB1FD8867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6210" y="676811"/>
            <a:ext cx="10540590" cy="523220"/>
          </a:xfrm>
        </p:spPr>
        <p:txBody>
          <a:bodyPr/>
          <a:lstStyle/>
          <a:p>
            <a:r>
              <a:rPr lang="en-US" dirty="0"/>
              <a:t>Canal-Seine-Nord-</a:t>
            </a:r>
            <a:r>
              <a:rPr lang="en-US" dirty="0" err="1"/>
              <a:t>Escaut</a:t>
            </a:r>
            <a:r>
              <a:rPr lang="en-US" dirty="0"/>
              <a:t>: </a:t>
            </a:r>
            <a:r>
              <a:rPr lang="en-US" dirty="0">
                <a:solidFill>
                  <a:srgbClr val="00B0F0"/>
                </a:solidFill>
              </a:rPr>
              <a:t>connection of Paris region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6C8E22-D9B6-6FDE-7062-C18F188CD18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bg1"/>
                </a:solidFill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464B99F-20B9-A0D6-CC87-4DA65DD24C9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968" t="46659" r="16048" b="24504"/>
          <a:stretch/>
        </p:blipFill>
        <p:spPr>
          <a:xfrm>
            <a:off x="818246" y="3849329"/>
            <a:ext cx="10110309" cy="241114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5E6F4A6-413B-011D-A6FB-3AF7122E6CF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628" t="45373" r="69275" b="5570"/>
          <a:stretch/>
        </p:blipFill>
        <p:spPr>
          <a:xfrm>
            <a:off x="3539613" y="1539473"/>
            <a:ext cx="4614654" cy="5071238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73C6758E-6B64-4E00-78F6-1267FAEA7C71}"/>
              </a:ext>
            </a:extLst>
          </p:cNvPr>
          <p:cNvSpPr/>
          <p:nvPr/>
        </p:nvSpPr>
        <p:spPr>
          <a:xfrm>
            <a:off x="2831739" y="4489143"/>
            <a:ext cx="383458" cy="353961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5656A3C-40A6-0A50-09F8-7357C91C4F1F}"/>
              </a:ext>
            </a:extLst>
          </p:cNvPr>
          <p:cNvSpPr txBox="1"/>
          <p:nvPr/>
        </p:nvSpPr>
        <p:spPr>
          <a:xfrm>
            <a:off x="2608236" y="5912587"/>
            <a:ext cx="20664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C00000"/>
                </a:solidFill>
              </a:rPr>
              <a:t>Test Basin</a:t>
            </a:r>
          </a:p>
          <a:p>
            <a:r>
              <a:rPr lang="en-US" sz="1600" b="1" dirty="0">
                <a:solidFill>
                  <a:srgbClr val="C00000"/>
                </a:solidFill>
              </a:rPr>
              <a:t>(waterproofing)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0F0348F-1A3B-4247-66DB-9DBB57816617}"/>
              </a:ext>
            </a:extLst>
          </p:cNvPr>
          <p:cNvCxnSpPr/>
          <p:nvPr/>
        </p:nvCxnSpPr>
        <p:spPr>
          <a:xfrm>
            <a:off x="2831739" y="4843104"/>
            <a:ext cx="0" cy="107425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52A2482B-60D5-29B5-5D97-AF6151B3A11F}"/>
              </a:ext>
            </a:extLst>
          </p:cNvPr>
          <p:cNvSpPr/>
          <p:nvPr/>
        </p:nvSpPr>
        <p:spPr>
          <a:xfrm>
            <a:off x="560439" y="5912587"/>
            <a:ext cx="1017638" cy="5232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C366643-173C-D68A-940C-C6E557AA1271}"/>
              </a:ext>
            </a:extLst>
          </p:cNvPr>
          <p:cNvSpPr/>
          <p:nvPr/>
        </p:nvSpPr>
        <p:spPr>
          <a:xfrm>
            <a:off x="10341368" y="5545394"/>
            <a:ext cx="1017638" cy="8857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2BC010B-ADF3-3088-389F-DD0710F2C1D0}"/>
              </a:ext>
            </a:extLst>
          </p:cNvPr>
          <p:cNvSpPr txBox="1"/>
          <p:nvPr/>
        </p:nvSpPr>
        <p:spPr>
          <a:xfrm>
            <a:off x="4981145" y="3705760"/>
            <a:ext cx="975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106 k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421CE27-F75D-C6AE-E222-0188486B708F}"/>
              </a:ext>
            </a:extLst>
          </p:cNvPr>
          <p:cNvSpPr txBox="1"/>
          <p:nvPr/>
        </p:nvSpPr>
        <p:spPr>
          <a:xfrm>
            <a:off x="309560" y="6463721"/>
            <a:ext cx="105405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 : Canal Seine Nord</a:t>
            </a:r>
          </a:p>
        </p:txBody>
      </p:sp>
    </p:spTree>
    <p:extLst>
      <p:ext uri="{BB962C8B-B14F-4D97-AF65-F5344CB8AC3E}">
        <p14:creationId xmlns:p14="http://schemas.microsoft.com/office/powerpoint/2010/main" val="8081202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xit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FF65088-3CC1-DDF0-DBBE-9C2999F0C3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xecution on-going (just started =&gt; earthworks till 2027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1BB90A-8EFC-FB8F-BEB9-9CA37BDE53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Mega-sized earthworks projec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2CE540-513E-1B1D-71F5-9EAC43334DB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bg1"/>
                </a:solidFill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058C221-F28A-C371-FACC-C47AA9390F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546" t="20631" r="18588" b="17536"/>
          <a:stretch/>
        </p:blipFill>
        <p:spPr>
          <a:xfrm>
            <a:off x="1119642" y="1520980"/>
            <a:ext cx="9641565" cy="493881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124FE30-8D56-5347-91FD-7A8EB2395571}"/>
              </a:ext>
            </a:extLst>
          </p:cNvPr>
          <p:cNvSpPr/>
          <p:nvPr/>
        </p:nvSpPr>
        <p:spPr>
          <a:xfrm>
            <a:off x="2893432" y="2123768"/>
            <a:ext cx="4819973" cy="885729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7D803D4-7322-B43E-18F3-8A13951072C2}"/>
              </a:ext>
            </a:extLst>
          </p:cNvPr>
          <p:cNvSpPr/>
          <p:nvPr/>
        </p:nvSpPr>
        <p:spPr>
          <a:xfrm>
            <a:off x="877730" y="5936574"/>
            <a:ext cx="1017638" cy="5232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1203A6-2B6C-1D97-8189-F2F91A7AEA92}"/>
              </a:ext>
            </a:extLst>
          </p:cNvPr>
          <p:cNvSpPr txBox="1"/>
          <p:nvPr/>
        </p:nvSpPr>
        <p:spPr>
          <a:xfrm>
            <a:off x="7897971" y="1793121"/>
            <a:ext cx="3984312" cy="9925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00B0F0"/>
                </a:solidFill>
              </a:rPr>
              <a:t>70 Millions m³</a:t>
            </a:r>
          </a:p>
          <a:p>
            <a:pPr algn="ctr"/>
            <a:endParaRPr lang="en-US" sz="1050" b="1" dirty="0">
              <a:solidFill>
                <a:schemeClr val="accent5"/>
              </a:solidFill>
            </a:endParaRPr>
          </a:p>
          <a:p>
            <a:pPr algn="ctr"/>
            <a:r>
              <a:rPr lang="en-US" b="1" dirty="0"/>
              <a:t>(4 years of earthworks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FB036B4-FC64-2AFD-1A59-BDA78CB95E28}"/>
              </a:ext>
            </a:extLst>
          </p:cNvPr>
          <p:cNvSpPr txBox="1"/>
          <p:nvPr/>
        </p:nvSpPr>
        <p:spPr>
          <a:xfrm>
            <a:off x="309560" y="6463721"/>
            <a:ext cx="105405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 : A. </a:t>
            </a:r>
            <a:r>
              <a:rPr lang="en-US" sz="1400" dirty="0" err="1"/>
              <a:t>Mehenni</a:t>
            </a:r>
            <a:r>
              <a:rPr lang="en-US" sz="1400" dirty="0"/>
              <a:t> &amp; All - Canal Seine Nord &amp; Bouygues – 5</a:t>
            </a:r>
            <a:r>
              <a:rPr lang="en-US" sz="1400" baseline="30000" dirty="0"/>
              <a:t>th</a:t>
            </a:r>
            <a:r>
              <a:rPr lang="en-US" sz="1400" dirty="0"/>
              <a:t> Internal Seminar on Earthworks Europe (2022)</a:t>
            </a:r>
          </a:p>
        </p:txBody>
      </p:sp>
    </p:spTree>
    <p:extLst>
      <p:ext uri="{BB962C8B-B14F-4D97-AF65-F5344CB8AC3E}">
        <p14:creationId xmlns:p14="http://schemas.microsoft.com/office/powerpoint/2010/main" val="42070565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AB7492-C294-F878-8D7E-EF0F955DEC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Test Basin - </a:t>
            </a:r>
            <a:r>
              <a:rPr lang="en-US" dirty="0">
                <a:solidFill>
                  <a:srgbClr val="00B0F0"/>
                </a:solidFill>
              </a:rPr>
              <a:t>desig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96B403-9F7F-6F8C-FC3E-ACE752843F1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bg1"/>
                </a:solidFill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82CAE77-7A19-8FC2-5CEB-D1BA4D1D98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919" t="33734" r="2742" b="25579"/>
          <a:stretch/>
        </p:blipFill>
        <p:spPr>
          <a:xfrm>
            <a:off x="1151266" y="1464077"/>
            <a:ext cx="10648335" cy="278894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CE1C6CB-CB7D-DFC2-1B37-289196DC4315}"/>
              </a:ext>
            </a:extLst>
          </p:cNvPr>
          <p:cNvSpPr txBox="1"/>
          <p:nvPr/>
        </p:nvSpPr>
        <p:spPr>
          <a:xfrm>
            <a:off x="686210" y="5919579"/>
            <a:ext cx="49447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 : A. </a:t>
            </a:r>
            <a:r>
              <a:rPr lang="en-US" sz="1400" dirty="0" err="1"/>
              <a:t>Mehenni</a:t>
            </a:r>
            <a:r>
              <a:rPr lang="en-US" sz="1400" dirty="0"/>
              <a:t> &amp; All - Canal Seine Nord &amp; Bouygues – 5</a:t>
            </a:r>
            <a:r>
              <a:rPr lang="en-US" sz="1400" baseline="30000" dirty="0"/>
              <a:t>th</a:t>
            </a:r>
            <a:r>
              <a:rPr lang="en-US" sz="1400" dirty="0"/>
              <a:t> Internal Seminar on Earthworks Europe (2022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1C0527-1B72-1276-F04F-5D24000CB56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5474" t="22500" r="12539" b="49746"/>
          <a:stretch/>
        </p:blipFill>
        <p:spPr>
          <a:xfrm>
            <a:off x="5745480" y="4426739"/>
            <a:ext cx="6255793" cy="232479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470933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0D704D-D23E-B0AA-A5AB-D3656C00676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bg1"/>
                </a:solidFill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BF26DF8-C581-24D5-E7BE-2294B6446BD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17" t="35262" r="51335" b="24860"/>
          <a:stretch/>
        </p:blipFill>
        <p:spPr>
          <a:xfrm>
            <a:off x="2131629" y="4090924"/>
            <a:ext cx="3544504" cy="195030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10298B1-1228-6E9D-D08C-A3A30841173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152" t="33734" r="53796" b="23428"/>
          <a:stretch/>
        </p:blipFill>
        <p:spPr>
          <a:xfrm>
            <a:off x="2131629" y="1463936"/>
            <a:ext cx="3544504" cy="23679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7DAC5DA-423F-19A0-D032-EFE0FEE49CA6}"/>
              </a:ext>
            </a:extLst>
          </p:cNvPr>
          <p:cNvSpPr txBox="1"/>
          <p:nvPr/>
        </p:nvSpPr>
        <p:spPr>
          <a:xfrm>
            <a:off x="1779437" y="6146386"/>
            <a:ext cx="91335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 : A. </a:t>
            </a:r>
            <a:r>
              <a:rPr lang="en-US" sz="1400" dirty="0" err="1"/>
              <a:t>Mehenni</a:t>
            </a:r>
            <a:r>
              <a:rPr lang="en-US" sz="1400" dirty="0"/>
              <a:t> &amp; All - Canal Seine Nord &amp; Bouygues – 5</a:t>
            </a:r>
            <a:r>
              <a:rPr lang="en-US" sz="1400" baseline="30000" dirty="0"/>
              <a:t>th</a:t>
            </a:r>
            <a:r>
              <a:rPr lang="en-US" sz="1400" dirty="0"/>
              <a:t> Internal Seminar on Earthworks Europe (2022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761CF2D-B034-D241-BDC5-A6E91643C48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1978" t="33734" r="10363" b="23428"/>
          <a:stretch/>
        </p:blipFill>
        <p:spPr>
          <a:xfrm>
            <a:off x="6096000" y="1439762"/>
            <a:ext cx="3740241" cy="239211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D2DE61D-9A7B-7EAF-4BBF-E11D0FC5F87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040" t="35261" r="9305" b="26471"/>
          <a:stretch/>
        </p:blipFill>
        <p:spPr>
          <a:xfrm>
            <a:off x="6096000" y="4090924"/>
            <a:ext cx="3685379" cy="1950303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C0CCCBE-EA2D-196C-A61C-3ECD2B1505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5800" y="676275"/>
            <a:ext cx="10541000" cy="523875"/>
          </a:xfrm>
        </p:spPr>
        <p:txBody>
          <a:bodyPr/>
          <a:lstStyle/>
          <a:p>
            <a:r>
              <a:rPr lang="en-US" dirty="0"/>
              <a:t>Test Basin - </a:t>
            </a:r>
            <a:r>
              <a:rPr lang="hu-HU" dirty="0" err="1">
                <a:solidFill>
                  <a:srgbClr val="00B0F0"/>
                </a:solidFill>
              </a:rPr>
              <a:t>construction</a:t>
            </a:r>
            <a:endParaRPr lang="en-US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84836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ED132A-D17E-C9EB-C546-F1B85837BC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Test</a:t>
            </a:r>
            <a:r>
              <a:rPr lang="hu-HU" dirty="0"/>
              <a:t> B</a:t>
            </a:r>
            <a:r>
              <a:rPr lang="en-US" dirty="0" err="1"/>
              <a:t>asin</a:t>
            </a:r>
            <a:r>
              <a:rPr lang="hu-HU" dirty="0"/>
              <a:t> - </a:t>
            </a:r>
            <a:r>
              <a:rPr lang="en-US" dirty="0">
                <a:solidFill>
                  <a:srgbClr val="00B0F0"/>
                </a:solidFill>
              </a:rPr>
              <a:t>finishe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6302AD-A0D0-5B19-E555-CE7368D23B8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bg1"/>
                </a:solidFill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15BC650-A1A0-232B-AA49-1EA2EEA15DE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17" t="28045" r="59420" b="28161"/>
          <a:stretch/>
        </p:blipFill>
        <p:spPr>
          <a:xfrm>
            <a:off x="1166069" y="2031293"/>
            <a:ext cx="4413786" cy="323788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1083E21-9731-07C6-50F1-BF9A34313725}"/>
              </a:ext>
            </a:extLst>
          </p:cNvPr>
          <p:cNvSpPr txBox="1"/>
          <p:nvPr/>
        </p:nvSpPr>
        <p:spPr>
          <a:xfrm>
            <a:off x="1651410" y="5461398"/>
            <a:ext cx="105405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 : A. </a:t>
            </a:r>
            <a:r>
              <a:rPr lang="en-US" sz="1400" dirty="0" err="1"/>
              <a:t>Mehenni</a:t>
            </a:r>
            <a:r>
              <a:rPr lang="en-US" sz="1400" dirty="0"/>
              <a:t> &amp; All - Canal Seine Nord &amp; Bouygues – 5</a:t>
            </a:r>
            <a:r>
              <a:rPr lang="en-US" sz="1400" baseline="30000" dirty="0"/>
              <a:t>th</a:t>
            </a:r>
            <a:r>
              <a:rPr lang="en-US" sz="1400" dirty="0"/>
              <a:t> Internal Seminar on Earthworks Europe (2022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41B93A6-36E0-76F8-8C00-BD5B74DF22F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9652" t="28045" r="9758" b="28161"/>
          <a:stretch/>
        </p:blipFill>
        <p:spPr>
          <a:xfrm>
            <a:off x="5688188" y="2031294"/>
            <a:ext cx="5337743" cy="323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9350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-17421" y="0"/>
            <a:ext cx="12209422" cy="6858000"/>
          </a:xfrm>
          <a:prstGeom prst="rect">
            <a:avLst/>
          </a:prstGeom>
          <a:gradFill>
            <a:gsLst>
              <a:gs pos="100000">
                <a:schemeClr val="tx2"/>
              </a:gs>
              <a:gs pos="37000">
                <a:schemeClr val="tx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id-ID" sz="2400">
              <a:solidFill>
                <a:schemeClr val="tx1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0"/>
            <a:ext cx="12192000" cy="361997"/>
          </a:xfrm>
          <a:prstGeom prst="rect">
            <a:avLst/>
          </a:prstGeom>
          <a:gradFill>
            <a:gsLst>
              <a:gs pos="80000">
                <a:schemeClr val="tx1"/>
              </a:gs>
              <a:gs pos="0">
                <a:schemeClr val="tx2"/>
              </a:gs>
            </a:gsLst>
            <a:lin ang="8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en-US" sz="4800" dirty="0">
              <a:solidFill>
                <a:schemeClr val="bg1"/>
              </a:solidFill>
              <a:latin typeface="DIN Offc Light" panose="020B0504020101010102" pitchFamily="34" charset="0"/>
              <a:cs typeface="Arial" charset="0"/>
            </a:endParaRPr>
          </a:p>
        </p:txBody>
      </p:sp>
      <p:cxnSp>
        <p:nvCxnSpPr>
          <p:cNvPr id="18" name="Straight Connector 17"/>
          <p:cNvCxnSpPr/>
          <p:nvPr/>
        </p:nvCxnSpPr>
        <p:spPr bwMode="auto">
          <a:xfrm>
            <a:off x="-17421" y="361997"/>
            <a:ext cx="1220942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TextBox 18"/>
          <p:cNvSpPr txBox="1"/>
          <p:nvPr/>
        </p:nvSpPr>
        <p:spPr>
          <a:xfrm>
            <a:off x="11830506" y="58339"/>
            <a:ext cx="247074" cy="245318"/>
          </a:xfrm>
          <a:prstGeom prst="rect">
            <a:avLst/>
          </a:prstGeom>
          <a:noFill/>
          <a:ln w="31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lvl="0" algn="ctr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bg1"/>
                </a:solidFill>
                <a:latin typeface="DIN Offc Light" panose="020B0504020101010102" pitchFamily="34" charset="0"/>
                <a:cs typeface="Arial" charset="0"/>
              </a:defRPr>
            </a:lvl1pPr>
          </a:lstStyle>
          <a:p>
            <a:pPr lvl="0"/>
            <a:fld id="{1D94F95D-D830-43B9-AA6D-9A7C6420FAFA}" type="slidenum">
              <a:rPr lang="fr-BE" sz="900" b="1" smtClean="0">
                <a:solidFill>
                  <a:schemeClr val="bg1"/>
                </a:solidFill>
                <a:latin typeface="+mj-lt"/>
              </a:rPr>
              <a:pPr lvl="0"/>
              <a:t>2</a:t>
            </a:fld>
            <a:endParaRPr lang="fr-BE" sz="9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800" dirty="0"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latin typeface="DIN Offc" panose="020B0504020101020102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482" b="16950"/>
          <a:stretch/>
        </p:blipFill>
        <p:spPr>
          <a:xfrm>
            <a:off x="11142597" y="6286493"/>
            <a:ext cx="913673" cy="481710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976911" y="2373674"/>
            <a:ext cx="3878850" cy="2257312"/>
            <a:chOff x="976910" y="817582"/>
            <a:chExt cx="4900184" cy="2851682"/>
          </a:xfrm>
        </p:grpSpPr>
        <p:sp>
          <p:nvSpPr>
            <p:cNvPr id="13" name="TextBox 12"/>
            <p:cNvSpPr txBox="1"/>
            <p:nvPr/>
          </p:nvSpPr>
          <p:spPr>
            <a:xfrm>
              <a:off x="1976370" y="1601874"/>
              <a:ext cx="3900724" cy="12830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0" dirty="0">
                  <a:solidFill>
                    <a:srgbClr val="FFFFFF"/>
                  </a:solidFill>
                  <a:latin typeface="+mj-lt"/>
                </a:rPr>
                <a:t>AGENDA</a:t>
              </a:r>
              <a:endParaRPr lang="id-ID" sz="600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976910" y="817582"/>
              <a:ext cx="2997818" cy="2851682"/>
            </a:xfrm>
            <a:custGeom>
              <a:avLst/>
              <a:gdLst>
                <a:gd name="connsiteX0" fmla="*/ 1343025 w 1347788"/>
                <a:gd name="connsiteY0" fmla="*/ 552450 h 1743075"/>
                <a:gd name="connsiteX1" fmla="*/ 1343025 w 1347788"/>
                <a:gd name="connsiteY1" fmla="*/ 0 h 1743075"/>
                <a:gd name="connsiteX2" fmla="*/ 0 w 1347788"/>
                <a:gd name="connsiteY2" fmla="*/ 0 h 1743075"/>
                <a:gd name="connsiteX3" fmla="*/ 0 w 1347788"/>
                <a:gd name="connsiteY3" fmla="*/ 1743075 h 1743075"/>
                <a:gd name="connsiteX4" fmla="*/ 1347788 w 1347788"/>
                <a:gd name="connsiteY4" fmla="*/ 1743075 h 1743075"/>
                <a:gd name="connsiteX5" fmla="*/ 1347788 w 1347788"/>
                <a:gd name="connsiteY5" fmla="*/ 1271587 h 1743075"/>
                <a:gd name="connsiteX0" fmla="*/ 1339661 w 1347788"/>
                <a:gd name="connsiteY0" fmla="*/ 341288 h 1743075"/>
                <a:gd name="connsiteX1" fmla="*/ 1343025 w 1347788"/>
                <a:gd name="connsiteY1" fmla="*/ 0 h 1743075"/>
                <a:gd name="connsiteX2" fmla="*/ 0 w 1347788"/>
                <a:gd name="connsiteY2" fmla="*/ 0 h 1743075"/>
                <a:gd name="connsiteX3" fmla="*/ 0 w 1347788"/>
                <a:gd name="connsiteY3" fmla="*/ 1743075 h 1743075"/>
                <a:gd name="connsiteX4" fmla="*/ 1347788 w 1347788"/>
                <a:gd name="connsiteY4" fmla="*/ 1743075 h 1743075"/>
                <a:gd name="connsiteX5" fmla="*/ 1347788 w 1347788"/>
                <a:gd name="connsiteY5" fmla="*/ 1271587 h 1743075"/>
                <a:gd name="connsiteX0" fmla="*/ 1339661 w 1347788"/>
                <a:gd name="connsiteY0" fmla="*/ 410395 h 1743075"/>
                <a:gd name="connsiteX1" fmla="*/ 1343025 w 1347788"/>
                <a:gd name="connsiteY1" fmla="*/ 0 h 1743075"/>
                <a:gd name="connsiteX2" fmla="*/ 0 w 1347788"/>
                <a:gd name="connsiteY2" fmla="*/ 0 h 1743075"/>
                <a:gd name="connsiteX3" fmla="*/ 0 w 1347788"/>
                <a:gd name="connsiteY3" fmla="*/ 1743075 h 1743075"/>
                <a:gd name="connsiteX4" fmla="*/ 1347788 w 1347788"/>
                <a:gd name="connsiteY4" fmla="*/ 1743075 h 1743075"/>
                <a:gd name="connsiteX5" fmla="*/ 1347788 w 1347788"/>
                <a:gd name="connsiteY5" fmla="*/ 1271587 h 1743075"/>
                <a:gd name="connsiteX0" fmla="*/ 1339661 w 1347788"/>
                <a:gd name="connsiteY0" fmla="*/ 410395 h 1743075"/>
                <a:gd name="connsiteX1" fmla="*/ 1343025 w 1347788"/>
                <a:gd name="connsiteY1" fmla="*/ 0 h 1743075"/>
                <a:gd name="connsiteX2" fmla="*/ 0 w 1347788"/>
                <a:gd name="connsiteY2" fmla="*/ 0 h 1743075"/>
                <a:gd name="connsiteX3" fmla="*/ 0 w 1347788"/>
                <a:gd name="connsiteY3" fmla="*/ 1743075 h 1743075"/>
                <a:gd name="connsiteX4" fmla="*/ 1347788 w 1347788"/>
                <a:gd name="connsiteY4" fmla="*/ 1743075 h 1743075"/>
                <a:gd name="connsiteX5" fmla="*/ 1347788 w 1347788"/>
                <a:gd name="connsiteY5" fmla="*/ 1455876 h 1743075"/>
                <a:gd name="connsiteX0" fmla="*/ 1343087 w 1347788"/>
                <a:gd name="connsiteY0" fmla="*/ 363818 h 1743075"/>
                <a:gd name="connsiteX1" fmla="*/ 1343025 w 1347788"/>
                <a:gd name="connsiteY1" fmla="*/ 0 h 1743075"/>
                <a:gd name="connsiteX2" fmla="*/ 0 w 1347788"/>
                <a:gd name="connsiteY2" fmla="*/ 0 h 1743075"/>
                <a:gd name="connsiteX3" fmla="*/ 0 w 1347788"/>
                <a:gd name="connsiteY3" fmla="*/ 1743075 h 1743075"/>
                <a:gd name="connsiteX4" fmla="*/ 1347788 w 1347788"/>
                <a:gd name="connsiteY4" fmla="*/ 1743075 h 1743075"/>
                <a:gd name="connsiteX5" fmla="*/ 1347788 w 1347788"/>
                <a:gd name="connsiteY5" fmla="*/ 1455876 h 174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47788" h="1743075">
                  <a:moveTo>
                    <a:pt x="1343087" y="363818"/>
                  </a:moveTo>
                  <a:cubicBezTo>
                    <a:pt x="1344208" y="250055"/>
                    <a:pt x="1341904" y="113763"/>
                    <a:pt x="1343025" y="0"/>
                  </a:cubicBezTo>
                  <a:lnTo>
                    <a:pt x="0" y="0"/>
                  </a:lnTo>
                  <a:lnTo>
                    <a:pt x="0" y="1743075"/>
                  </a:lnTo>
                  <a:lnTo>
                    <a:pt x="1347788" y="1743075"/>
                  </a:lnTo>
                  <a:lnTo>
                    <a:pt x="1347788" y="1455876"/>
                  </a:lnTo>
                </a:path>
              </a:pathLst>
            </a:custGeom>
            <a:noFill/>
            <a:ln w="111125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fr-BE" sz="1600">
                <a:latin typeface="Tahoma" pitchFamily="34" charset="0"/>
              </a:endParaRPr>
            </a:p>
          </p:txBody>
        </p:sp>
      </p:grpSp>
      <p:sp>
        <p:nvSpPr>
          <p:cNvPr id="15" name="Rectangle 14"/>
          <p:cNvSpPr/>
          <p:nvPr/>
        </p:nvSpPr>
        <p:spPr>
          <a:xfrm>
            <a:off x="5722889" y="744072"/>
            <a:ext cx="5967088" cy="564720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520700" indent="-292100">
              <a:buFont typeface="Wingdings" panose="05000000000000000000" pitchFamily="2" charset="2"/>
              <a:buChar char="§"/>
            </a:pPr>
            <a:r>
              <a:rPr lang="pt-BR" sz="2800" dirty="0">
                <a:solidFill>
                  <a:schemeClr val="bg1"/>
                </a:solidFill>
                <a:latin typeface="+mj-lt"/>
                <a:cs typeface="Arial" charset="0"/>
              </a:rPr>
              <a:t>Setting the scene</a:t>
            </a:r>
          </a:p>
          <a:p>
            <a:pPr marL="520700" indent="-292100">
              <a:buFont typeface="Wingdings" panose="05000000000000000000" pitchFamily="2" charset="2"/>
              <a:buChar char="§"/>
            </a:pPr>
            <a:r>
              <a:rPr lang="pt-BR" sz="2800" dirty="0">
                <a:solidFill>
                  <a:schemeClr val="bg1"/>
                </a:solidFill>
                <a:latin typeface="+mj-lt"/>
                <a:cs typeface="Arial" charset="0"/>
              </a:rPr>
              <a:t>Historical evolutions</a:t>
            </a:r>
          </a:p>
          <a:p>
            <a:pPr marL="520700" indent="-292100">
              <a:buFont typeface="Wingdings" panose="05000000000000000000" pitchFamily="2" charset="2"/>
              <a:buChar char="§"/>
            </a:pPr>
            <a:r>
              <a:rPr lang="pt-BR" sz="2800" dirty="0">
                <a:solidFill>
                  <a:schemeClr val="bg1"/>
                </a:solidFill>
                <a:latin typeface="+mj-lt"/>
                <a:cs typeface="Arial" charset="0"/>
              </a:rPr>
              <a:t>New : Waterways &amp; dikes</a:t>
            </a:r>
          </a:p>
          <a:p>
            <a:pPr marL="520700" indent="-292100">
              <a:buFont typeface="Wingdings" panose="05000000000000000000" pitchFamily="2" charset="2"/>
              <a:buChar char="§"/>
            </a:pPr>
            <a:r>
              <a:rPr lang="pt-BR" sz="2800" dirty="0">
                <a:solidFill>
                  <a:schemeClr val="bg1"/>
                </a:solidFill>
                <a:latin typeface="+mj-lt"/>
                <a:cs typeface="Arial" charset="0"/>
              </a:rPr>
              <a:t>Sustainability </a:t>
            </a:r>
          </a:p>
        </p:txBody>
      </p:sp>
    </p:spTree>
    <p:extLst>
      <p:ext uri="{BB962C8B-B14F-4D97-AF65-F5344CB8AC3E}">
        <p14:creationId xmlns:p14="http://schemas.microsoft.com/office/powerpoint/2010/main" val="41533195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0F0B55E-3913-E2E0-A3F5-3925E5BC8E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ydraulic conductivity &lt; 1 x 10</a:t>
            </a:r>
            <a:r>
              <a:rPr lang="en-US" baseline="30000" dirty="0"/>
              <a:t>-8</a:t>
            </a:r>
            <a:r>
              <a:rPr lang="en-US" dirty="0"/>
              <a:t> m/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D2AEDC-FC39-402F-DC2C-5FE596A94F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atertightness lay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91BFA4-E081-D8EB-7D7C-52165DA7DDD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bg1"/>
                </a:solidFill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4BE600-C15A-E3F3-127E-AAEB6B16EAC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17" t="28045" r="16895" b="6861"/>
          <a:stretch/>
        </p:blipFill>
        <p:spPr>
          <a:xfrm>
            <a:off x="839908" y="1647573"/>
            <a:ext cx="10194612" cy="496221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211945-D0C5-3E32-F714-780607473610}"/>
              </a:ext>
            </a:extLst>
          </p:cNvPr>
          <p:cNvSpPr txBox="1"/>
          <p:nvPr/>
        </p:nvSpPr>
        <p:spPr>
          <a:xfrm>
            <a:off x="1478937" y="6417321"/>
            <a:ext cx="105405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 : A. </a:t>
            </a:r>
            <a:r>
              <a:rPr lang="en-US" sz="1400" dirty="0" err="1"/>
              <a:t>Mehenni</a:t>
            </a:r>
            <a:r>
              <a:rPr lang="en-US" sz="1400" dirty="0"/>
              <a:t> &amp; All - Canal Seine Nord &amp; Bouygues – 5</a:t>
            </a:r>
            <a:r>
              <a:rPr lang="en-US" sz="1400" baseline="30000" dirty="0"/>
              <a:t>th</a:t>
            </a:r>
            <a:r>
              <a:rPr lang="en-US" sz="1400" dirty="0"/>
              <a:t> Internal Seminar on Earthworks Europe (2022)</a:t>
            </a:r>
          </a:p>
        </p:txBody>
      </p:sp>
    </p:spTree>
    <p:extLst>
      <p:ext uri="{BB962C8B-B14F-4D97-AF65-F5344CB8AC3E}">
        <p14:creationId xmlns:p14="http://schemas.microsoft.com/office/powerpoint/2010/main" val="14367092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AF518B-3C3D-7758-6DFF-A2197E295F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n-situ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03DE05-AE91-F8DF-6032-15D02309BB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Results Protection Lay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6D7B44A-7DBB-A79E-6227-BFD335454FE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bg1"/>
                </a:solidFill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5D8AC73-05CF-C273-A90D-90D04ADA600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17" t="29883" r="7917" b="14822"/>
          <a:stretch/>
        </p:blipFill>
        <p:spPr>
          <a:xfrm>
            <a:off x="817321" y="1697005"/>
            <a:ext cx="11004991" cy="406492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EE0B485-A0B5-1BB7-EFEE-6D842B7FFA5A}"/>
              </a:ext>
            </a:extLst>
          </p:cNvPr>
          <p:cNvSpPr txBox="1"/>
          <p:nvPr/>
        </p:nvSpPr>
        <p:spPr>
          <a:xfrm>
            <a:off x="1049521" y="6027300"/>
            <a:ext cx="105405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 : A. </a:t>
            </a:r>
            <a:r>
              <a:rPr lang="en-US" sz="1400" dirty="0" err="1"/>
              <a:t>Mehenni</a:t>
            </a:r>
            <a:r>
              <a:rPr lang="en-US" sz="1400" dirty="0"/>
              <a:t> &amp; All - Canal Seine Nord &amp; Bouygues – 5</a:t>
            </a:r>
            <a:r>
              <a:rPr lang="en-US" sz="1400" baseline="30000" dirty="0"/>
              <a:t>th</a:t>
            </a:r>
            <a:r>
              <a:rPr lang="en-US" sz="1400" dirty="0"/>
              <a:t> Internal Seminar on Earthworks Europe (2022)</a:t>
            </a:r>
          </a:p>
        </p:txBody>
      </p:sp>
    </p:spTree>
    <p:extLst>
      <p:ext uri="{BB962C8B-B14F-4D97-AF65-F5344CB8AC3E}">
        <p14:creationId xmlns:p14="http://schemas.microsoft.com/office/powerpoint/2010/main" val="30240677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55608E-9E18-FDF6-152B-CEC3BDDB26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Test </a:t>
            </a:r>
            <a:r>
              <a:rPr lang="hu-HU" dirty="0"/>
              <a:t>B</a:t>
            </a:r>
            <a:r>
              <a:rPr lang="en-US" dirty="0" err="1"/>
              <a:t>asin</a:t>
            </a:r>
            <a:r>
              <a:rPr lang="en-US" dirty="0"/>
              <a:t> </a:t>
            </a:r>
            <a:r>
              <a:rPr lang="hu-HU" dirty="0"/>
              <a:t>- </a:t>
            </a:r>
            <a:r>
              <a:rPr lang="en-US" dirty="0">
                <a:solidFill>
                  <a:srgbClr val="00B0F0"/>
                </a:solidFill>
              </a:rPr>
              <a:t>after 1 year under wa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73F3AC-C67D-2EB2-9684-D83537E24AF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bg1"/>
                </a:solidFill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29184A9-6454-7939-857C-E60022F170F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798" t="26505" r="7917" b="9849"/>
          <a:stretch/>
        </p:blipFill>
        <p:spPr>
          <a:xfrm>
            <a:off x="729344" y="1417484"/>
            <a:ext cx="10454322" cy="454625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956549B-BA3D-B279-08FD-BFB94F34360F}"/>
              </a:ext>
            </a:extLst>
          </p:cNvPr>
          <p:cNvSpPr/>
          <p:nvPr/>
        </p:nvSpPr>
        <p:spPr>
          <a:xfrm>
            <a:off x="8642838" y="730646"/>
            <a:ext cx="2654710" cy="18233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69C0EF5-F68B-B73C-6114-9D2B2CE9AC00}"/>
              </a:ext>
            </a:extLst>
          </p:cNvPr>
          <p:cNvSpPr txBox="1"/>
          <p:nvPr/>
        </p:nvSpPr>
        <p:spPr>
          <a:xfrm>
            <a:off x="1168810" y="6181189"/>
            <a:ext cx="105405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 : A. </a:t>
            </a:r>
            <a:r>
              <a:rPr lang="en-US" sz="1400" dirty="0" err="1"/>
              <a:t>Mehenni</a:t>
            </a:r>
            <a:r>
              <a:rPr lang="en-US" sz="1400" dirty="0"/>
              <a:t> &amp; All - Canal Seine Nord &amp; Bouygues – 5</a:t>
            </a:r>
            <a:r>
              <a:rPr lang="en-US" sz="1400" baseline="30000" dirty="0"/>
              <a:t>th</a:t>
            </a:r>
            <a:r>
              <a:rPr lang="en-US" sz="1400" dirty="0"/>
              <a:t> Internal Seminar on Earthworks Europe (2022)</a:t>
            </a:r>
          </a:p>
        </p:txBody>
      </p:sp>
    </p:spTree>
    <p:extLst>
      <p:ext uri="{BB962C8B-B14F-4D97-AF65-F5344CB8AC3E}">
        <p14:creationId xmlns:p14="http://schemas.microsoft.com/office/powerpoint/2010/main" val="32971047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AF7F6F0-BC0C-FA6C-5BE2-2EE57C2D3D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Great difficulties to excavate the Protection Layer (very stiff material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4E83FD-2533-3286-7A2F-282143A04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volution of the Test Basin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C1FE6A-73C6-996C-E26E-3902144EE68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bg1"/>
                </a:solidFill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697570-8DCE-0126-E10C-74B259A4BE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317" t="33734" r="61838" b="29882"/>
          <a:stretch/>
        </p:blipFill>
        <p:spPr>
          <a:xfrm>
            <a:off x="781376" y="2222220"/>
            <a:ext cx="3858344" cy="305366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6B68CF8-F56C-FBEB-F1CA-8E6EE462833E}"/>
              </a:ext>
            </a:extLst>
          </p:cNvPr>
          <p:cNvSpPr txBox="1"/>
          <p:nvPr/>
        </p:nvSpPr>
        <p:spPr>
          <a:xfrm>
            <a:off x="1377784" y="5500377"/>
            <a:ext cx="105405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 : A. </a:t>
            </a:r>
            <a:r>
              <a:rPr lang="en-US" sz="1400" dirty="0" err="1"/>
              <a:t>Mehenni</a:t>
            </a:r>
            <a:r>
              <a:rPr lang="en-US" sz="1400" dirty="0"/>
              <a:t> &amp; All - Canal Seine Nord &amp; Bouygues – 5</a:t>
            </a:r>
            <a:r>
              <a:rPr lang="en-US" sz="1400" baseline="30000" dirty="0"/>
              <a:t>th</a:t>
            </a:r>
            <a:r>
              <a:rPr lang="en-US" sz="1400" dirty="0"/>
              <a:t> Internal Seminar on Earthworks Europe (2022)</a:t>
            </a:r>
          </a:p>
        </p:txBody>
      </p:sp>
      <p:pic>
        <p:nvPicPr>
          <p:cNvPr id="4" name="Picture 3" descr="A picture containing text, outdoor, power shovel, orange&#10;&#10;Description automatically generated">
            <a:extLst>
              <a:ext uri="{FF2B5EF4-FFF2-40B4-BE49-F238E27FC236}">
                <a16:creationId xmlns:a16="http://schemas.microsoft.com/office/drawing/2014/main" id="{30905772-7023-8AE9-2059-2D5A8914611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377" t="33734" r="31687" b="29882"/>
          <a:stretch/>
        </p:blipFill>
        <p:spPr>
          <a:xfrm>
            <a:off x="4794191" y="2227743"/>
            <a:ext cx="4170348" cy="305366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4E598A2-AE7E-7A85-4C4D-7753B5BF4C8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0713" t="33734" r="14046" b="29882"/>
          <a:stretch/>
        </p:blipFill>
        <p:spPr>
          <a:xfrm>
            <a:off x="9119010" y="2222219"/>
            <a:ext cx="2275169" cy="3053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40402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0FC761-E6C7-D775-BBB3-BEA7EA4574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nchor Falling Tes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C29D994-D582-C449-1BE5-9378FB2B0B9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bg1"/>
                </a:solidFill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41FE2D-A71F-C5AC-22D9-032F31E399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460" t="35692" r="13508" b="17536"/>
          <a:stretch/>
        </p:blipFill>
        <p:spPr>
          <a:xfrm>
            <a:off x="725047" y="2040530"/>
            <a:ext cx="10501753" cy="373021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1B93D5C-D40A-1F5F-2A6B-2ED3A5683259}"/>
              </a:ext>
            </a:extLst>
          </p:cNvPr>
          <p:cNvSpPr txBox="1"/>
          <p:nvPr/>
        </p:nvSpPr>
        <p:spPr>
          <a:xfrm>
            <a:off x="1881986" y="5913523"/>
            <a:ext cx="105405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 : A. </a:t>
            </a:r>
            <a:r>
              <a:rPr lang="en-US" sz="1400" dirty="0" err="1"/>
              <a:t>Mehenni</a:t>
            </a:r>
            <a:r>
              <a:rPr lang="en-US" sz="1400" dirty="0"/>
              <a:t> &amp; All - Canal Seine Nord &amp; Bouygues – 5</a:t>
            </a:r>
            <a:r>
              <a:rPr lang="en-US" sz="1400" baseline="30000" dirty="0"/>
              <a:t>th</a:t>
            </a:r>
            <a:r>
              <a:rPr lang="en-US" sz="1400" dirty="0"/>
              <a:t> Internal Seminar on Earthworks Europe (2022)</a:t>
            </a:r>
          </a:p>
        </p:txBody>
      </p:sp>
    </p:spTree>
    <p:extLst>
      <p:ext uri="{BB962C8B-B14F-4D97-AF65-F5344CB8AC3E}">
        <p14:creationId xmlns:p14="http://schemas.microsoft.com/office/powerpoint/2010/main" val="17217395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FBA50C-9354-59EE-5D49-5726C7313C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6210" y="608443"/>
            <a:ext cx="10540590" cy="523220"/>
          </a:xfrm>
        </p:spPr>
        <p:txBody>
          <a:bodyPr/>
          <a:lstStyle/>
          <a:p>
            <a:r>
              <a:rPr lang="en-US" dirty="0"/>
              <a:t>Evolution of the basin and the protection lay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817EE4-0EC5-6E8D-8B40-476FBEBD5E0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bg1"/>
                </a:solidFill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5CAA2F-881F-2531-B5A8-D0613531965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64" t="25365" r="28774" b="11594"/>
          <a:stretch/>
        </p:blipFill>
        <p:spPr>
          <a:xfrm>
            <a:off x="1191112" y="1286738"/>
            <a:ext cx="9321805" cy="501646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1DEBB67-17EA-764D-41B9-1496A9F5BD5E}"/>
              </a:ext>
            </a:extLst>
          </p:cNvPr>
          <p:cNvSpPr txBox="1"/>
          <p:nvPr/>
        </p:nvSpPr>
        <p:spPr>
          <a:xfrm>
            <a:off x="1420514" y="6326492"/>
            <a:ext cx="105405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 : A. </a:t>
            </a:r>
            <a:r>
              <a:rPr lang="en-US" sz="1400" dirty="0" err="1"/>
              <a:t>Mehenni</a:t>
            </a:r>
            <a:r>
              <a:rPr lang="en-US" sz="1400" dirty="0"/>
              <a:t> &amp; All - Canal Seine Nord &amp; Bouygues – 5</a:t>
            </a:r>
            <a:r>
              <a:rPr lang="en-US" sz="1400" baseline="30000" dirty="0"/>
              <a:t>th</a:t>
            </a:r>
            <a:r>
              <a:rPr lang="en-US" sz="1400" dirty="0"/>
              <a:t> Internal Seminar on Earthworks Europe (2022)</a:t>
            </a:r>
          </a:p>
        </p:txBody>
      </p:sp>
    </p:spTree>
    <p:extLst>
      <p:ext uri="{BB962C8B-B14F-4D97-AF65-F5344CB8AC3E}">
        <p14:creationId xmlns:p14="http://schemas.microsoft.com/office/powerpoint/2010/main" val="10062530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ACBEBE-1A91-4D95-197D-3CBF0E9FEA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bg1"/>
                </a:solidFill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16712B-AB85-F16E-F2B8-ADEE68B495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COL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771BE51-7C09-7368-1D8D-19A26D1A60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Cemented Soil Dams 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–</a:t>
            </a:r>
            <a:r>
              <a:rPr lang="en-US" dirty="0">
                <a:solidFill>
                  <a:schemeClr val="accent5"/>
                </a:solidFill>
              </a:rPr>
              <a:t> </a:t>
            </a:r>
            <a:r>
              <a:rPr lang="en-US" dirty="0">
                <a:solidFill>
                  <a:srgbClr val="00B0F0"/>
                </a:solidFill>
              </a:rPr>
              <a:t>soon availab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CA901C4-7A83-27A4-24CD-7C2C79DC93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324" t="19593" r="12353" b="9849"/>
          <a:stretch/>
        </p:blipFill>
        <p:spPr>
          <a:xfrm>
            <a:off x="1437281" y="1589976"/>
            <a:ext cx="9533554" cy="4955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5215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59131" y="1871008"/>
            <a:ext cx="2664134" cy="9334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chemeClr val="bg1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half" idx="2"/>
          </p:nvPr>
        </p:nvSpPr>
        <p:spPr>
          <a:xfrm>
            <a:off x="759131" y="2168089"/>
            <a:ext cx="2664134" cy="341632"/>
          </a:xfrm>
        </p:spPr>
        <p:txBody>
          <a:bodyPr wrap="square">
            <a:spAutoFit/>
          </a:bodyPr>
          <a:lstStyle/>
          <a:p>
            <a:pPr marL="0" indent="0" algn="ctr">
              <a:buClr>
                <a:schemeClr val="tx2"/>
              </a:buClr>
              <a:buNone/>
            </a:pPr>
            <a:r>
              <a:rPr lang="fr-BE" sz="1800" b="1" dirty="0">
                <a:solidFill>
                  <a:schemeClr val="bg1"/>
                </a:solidFill>
              </a:rPr>
              <a:t>Resource Efficien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bg1"/>
                </a:solidFill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7" name="Content Placeholder 10"/>
          <p:cNvSpPr txBox="1">
            <a:spLocks/>
          </p:cNvSpPr>
          <p:nvPr/>
        </p:nvSpPr>
        <p:spPr>
          <a:xfrm>
            <a:off x="3737590" y="1934576"/>
            <a:ext cx="8311534" cy="11798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2000" b="1" dirty="0">
                <a:solidFill>
                  <a:schemeClr val="accent5"/>
                </a:solidFill>
              </a:rPr>
              <a:t>Avoid landfilling</a:t>
            </a:r>
            <a:r>
              <a:rPr lang="en-US" sz="2000" b="1" dirty="0"/>
              <a:t>, and footprint of.</a:t>
            </a:r>
          </a:p>
          <a:p>
            <a:pPr>
              <a:buClr>
                <a:schemeClr val="tx2"/>
              </a:buClr>
            </a:pPr>
            <a:r>
              <a:rPr lang="fr-BE" sz="2000" b="1" dirty="0" err="1">
                <a:solidFill>
                  <a:schemeClr val="accent5"/>
                </a:solidFill>
              </a:rPr>
              <a:t>Saves</a:t>
            </a:r>
            <a:r>
              <a:rPr lang="fr-BE" sz="2000" b="1" dirty="0">
                <a:solidFill>
                  <a:schemeClr val="accent5"/>
                </a:solidFill>
              </a:rPr>
              <a:t> </a:t>
            </a:r>
            <a:r>
              <a:rPr lang="fr-BE" sz="2000" b="1" dirty="0" err="1">
                <a:solidFill>
                  <a:schemeClr val="accent5"/>
                </a:solidFill>
              </a:rPr>
              <a:t>natural</a:t>
            </a:r>
            <a:r>
              <a:rPr lang="fr-BE" sz="2000" b="1" dirty="0">
                <a:solidFill>
                  <a:schemeClr val="accent5"/>
                </a:solidFill>
              </a:rPr>
              <a:t> </a:t>
            </a:r>
            <a:r>
              <a:rPr lang="fr-BE" sz="2000" b="1" dirty="0" err="1">
                <a:solidFill>
                  <a:schemeClr val="accent5"/>
                </a:solidFill>
              </a:rPr>
              <a:t>resources</a:t>
            </a:r>
            <a:r>
              <a:rPr lang="fr-BE" sz="2000" b="1" dirty="0">
                <a:solidFill>
                  <a:schemeClr val="accent5"/>
                </a:solidFill>
              </a:rPr>
              <a:t> </a:t>
            </a:r>
            <a:r>
              <a:rPr lang="fr-BE" sz="2000" b="1" dirty="0"/>
              <a:t>: </a:t>
            </a:r>
            <a:r>
              <a:rPr lang="fr-BE" sz="2000" b="1" dirty="0" err="1"/>
              <a:t>reduced</a:t>
            </a:r>
            <a:r>
              <a:rPr lang="fr-BE" sz="2000" b="1" dirty="0"/>
              <a:t> </a:t>
            </a:r>
            <a:r>
              <a:rPr lang="fr-BE" sz="2000" b="1" dirty="0" err="1"/>
              <a:t>need</a:t>
            </a:r>
            <a:r>
              <a:rPr lang="fr-BE" sz="2000" b="1" dirty="0"/>
              <a:t> of </a:t>
            </a:r>
            <a:r>
              <a:rPr lang="fr-BE" sz="2000" b="1" dirty="0" err="1"/>
              <a:t>aggregates</a:t>
            </a:r>
            <a:endParaRPr lang="en-US" sz="2000" b="1" dirty="0"/>
          </a:p>
          <a:p>
            <a:pPr>
              <a:buClr>
                <a:schemeClr val="tx2"/>
              </a:buClr>
            </a:pPr>
            <a:endParaRPr lang="en-US" sz="2000" b="1" dirty="0"/>
          </a:p>
        </p:txBody>
      </p:sp>
      <p:sp>
        <p:nvSpPr>
          <p:cNvPr id="10" name="Content Placeholder 10"/>
          <p:cNvSpPr txBox="1">
            <a:spLocks/>
          </p:cNvSpPr>
          <p:nvPr/>
        </p:nvSpPr>
        <p:spPr>
          <a:xfrm>
            <a:off x="3776774" y="3006977"/>
            <a:ext cx="8346094" cy="77457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</a:pPr>
            <a:r>
              <a:rPr lang="fr-BE" sz="2000" b="1" dirty="0" err="1">
                <a:solidFill>
                  <a:schemeClr val="accent5"/>
                </a:solidFill>
              </a:rPr>
              <a:t>Highly</a:t>
            </a:r>
            <a:r>
              <a:rPr lang="fr-BE" sz="2000" b="1" dirty="0">
                <a:solidFill>
                  <a:schemeClr val="accent5"/>
                </a:solidFill>
              </a:rPr>
              <a:t> </a:t>
            </a:r>
            <a:r>
              <a:rPr lang="fr-BE" sz="2000" b="1" dirty="0" err="1">
                <a:solidFill>
                  <a:schemeClr val="accent5"/>
                </a:solidFill>
              </a:rPr>
              <a:t>reduced</a:t>
            </a:r>
            <a:r>
              <a:rPr lang="fr-BE" sz="2000" b="1" dirty="0">
                <a:solidFill>
                  <a:schemeClr val="accent5"/>
                </a:solidFill>
              </a:rPr>
              <a:t> site </a:t>
            </a:r>
            <a:r>
              <a:rPr lang="fr-BE" sz="2000" b="1" dirty="0" err="1">
                <a:solidFill>
                  <a:schemeClr val="accent5"/>
                </a:solidFill>
              </a:rPr>
              <a:t>traffic</a:t>
            </a:r>
            <a:r>
              <a:rPr lang="fr-BE" sz="2000" b="1" dirty="0"/>
              <a:t>, </a:t>
            </a:r>
            <a:r>
              <a:rPr lang="fr-BE" sz="2000" b="1" dirty="0" err="1"/>
              <a:t>increased</a:t>
            </a:r>
            <a:r>
              <a:rPr lang="fr-BE" sz="2000" b="1" dirty="0"/>
              <a:t> </a:t>
            </a:r>
            <a:r>
              <a:rPr lang="fr-BE" sz="2000" b="1" dirty="0" err="1"/>
              <a:t>safety</a:t>
            </a:r>
            <a:r>
              <a:rPr lang="fr-BE" sz="2000" b="1" dirty="0"/>
              <a:t> and </a:t>
            </a:r>
            <a:r>
              <a:rPr lang="fr-BE" sz="2000" b="1" dirty="0" err="1"/>
              <a:t>less</a:t>
            </a:r>
            <a:r>
              <a:rPr lang="fr-BE" sz="2000" b="1" dirty="0"/>
              <a:t> accidents</a:t>
            </a:r>
          </a:p>
          <a:p>
            <a:pPr>
              <a:buClr>
                <a:schemeClr val="tx2"/>
              </a:buClr>
            </a:pPr>
            <a:r>
              <a:rPr lang="en-US" sz="2000" b="1" dirty="0">
                <a:solidFill>
                  <a:schemeClr val="accent5"/>
                </a:solidFill>
              </a:rPr>
              <a:t>High reduction of road traffic</a:t>
            </a:r>
            <a:r>
              <a:rPr lang="en-US" sz="2000" b="1" dirty="0"/>
              <a:t>, less </a:t>
            </a:r>
            <a:r>
              <a:rPr lang="en-US" sz="2000" b="1" dirty="0" err="1"/>
              <a:t>hinderance</a:t>
            </a:r>
            <a:r>
              <a:rPr lang="en-US" sz="2000" b="1" dirty="0"/>
              <a:t> for neighbors</a:t>
            </a:r>
          </a:p>
        </p:txBody>
      </p:sp>
      <p:sp>
        <p:nvSpPr>
          <p:cNvPr id="16" name="Content Placeholder 10"/>
          <p:cNvSpPr txBox="1">
            <a:spLocks/>
          </p:cNvSpPr>
          <p:nvPr/>
        </p:nvSpPr>
        <p:spPr>
          <a:xfrm>
            <a:off x="3776774" y="5330304"/>
            <a:ext cx="8311535" cy="11798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</a:pPr>
            <a:r>
              <a:rPr lang="fr-BE" sz="2000" b="1" dirty="0" err="1">
                <a:solidFill>
                  <a:schemeClr val="accent5"/>
                </a:solidFill>
              </a:rPr>
              <a:t>Dries</a:t>
            </a:r>
            <a:r>
              <a:rPr lang="fr-BE" sz="2000" b="1" dirty="0">
                <a:solidFill>
                  <a:schemeClr val="accent5"/>
                </a:solidFill>
              </a:rPr>
              <a:t> up </a:t>
            </a:r>
            <a:r>
              <a:rPr lang="fr-BE" sz="2000" b="1" dirty="0" err="1">
                <a:solidFill>
                  <a:schemeClr val="accent5"/>
                </a:solidFill>
              </a:rPr>
              <a:t>wet</a:t>
            </a:r>
            <a:r>
              <a:rPr lang="fr-BE" sz="2000" b="1" dirty="0">
                <a:solidFill>
                  <a:schemeClr val="accent5"/>
                </a:solidFill>
              </a:rPr>
              <a:t> sites</a:t>
            </a:r>
            <a:r>
              <a:rPr lang="fr-BE" sz="2000" b="1" dirty="0"/>
              <a:t>, </a:t>
            </a:r>
            <a:r>
              <a:rPr lang="fr-BE" sz="2000" b="1" dirty="0" err="1"/>
              <a:t>creating</a:t>
            </a:r>
            <a:r>
              <a:rPr lang="fr-BE" sz="2000" b="1" dirty="0"/>
              <a:t> </a:t>
            </a:r>
            <a:r>
              <a:rPr lang="fr-BE" sz="2000" b="1" dirty="0" err="1"/>
              <a:t>access</a:t>
            </a:r>
            <a:r>
              <a:rPr lang="fr-BE" sz="2000" b="1" dirty="0"/>
              <a:t>, and </a:t>
            </a:r>
            <a:r>
              <a:rPr lang="fr-BE" sz="2000" b="1" dirty="0" err="1"/>
              <a:t>extends</a:t>
            </a:r>
            <a:r>
              <a:rPr lang="fr-BE" sz="2000" b="1" dirty="0"/>
              <a:t> </a:t>
            </a:r>
            <a:r>
              <a:rPr lang="fr-BE" sz="2000" b="1" dirty="0" err="1"/>
              <a:t>working</a:t>
            </a:r>
            <a:r>
              <a:rPr lang="fr-BE" sz="2000" b="1" dirty="0"/>
              <a:t> time</a:t>
            </a:r>
          </a:p>
          <a:p>
            <a:pPr>
              <a:buClr>
                <a:schemeClr val="tx2"/>
              </a:buClr>
            </a:pPr>
            <a:r>
              <a:rPr lang="fr-BE" sz="2000" b="1" dirty="0" err="1"/>
              <a:t>Very</a:t>
            </a:r>
            <a:r>
              <a:rPr lang="fr-BE" sz="2000" b="1" dirty="0"/>
              <a:t> </a:t>
            </a:r>
            <a:r>
              <a:rPr lang="fr-BE" sz="2000" b="1" dirty="0">
                <a:solidFill>
                  <a:schemeClr val="accent5"/>
                </a:solidFill>
              </a:rPr>
              <a:t>high pace </a:t>
            </a:r>
            <a:r>
              <a:rPr lang="fr-BE" sz="2000" b="1" dirty="0" err="1"/>
              <a:t>feasible</a:t>
            </a:r>
            <a:r>
              <a:rPr lang="fr-BE" sz="2000" b="1" dirty="0"/>
              <a:t> for </a:t>
            </a:r>
            <a:r>
              <a:rPr lang="fr-BE" sz="2000" b="1" dirty="0" err="1"/>
              <a:t>small</a:t>
            </a:r>
            <a:r>
              <a:rPr lang="fr-BE" sz="2000" b="1" dirty="0"/>
              <a:t>, large, and </a:t>
            </a:r>
            <a:r>
              <a:rPr lang="fr-BE" sz="2000" b="1" dirty="0" err="1"/>
              <a:t>mega-projects</a:t>
            </a:r>
            <a:endParaRPr lang="fr-BE" sz="2000" b="1" dirty="0"/>
          </a:p>
          <a:p>
            <a:pPr>
              <a:buClr>
                <a:schemeClr val="tx2"/>
              </a:buClr>
            </a:pPr>
            <a:r>
              <a:rPr lang="fr-BE" sz="2000" b="1" dirty="0" err="1">
                <a:solidFill>
                  <a:schemeClr val="accent5"/>
                </a:solidFill>
              </a:rPr>
              <a:t>Ease</a:t>
            </a:r>
            <a:r>
              <a:rPr lang="fr-BE" sz="2000" b="1" dirty="0">
                <a:solidFill>
                  <a:schemeClr val="accent5"/>
                </a:solidFill>
              </a:rPr>
              <a:t> of </a:t>
            </a:r>
            <a:r>
              <a:rPr lang="fr-BE" sz="2000" b="1" dirty="0" err="1">
                <a:solidFill>
                  <a:schemeClr val="accent5"/>
                </a:solidFill>
              </a:rPr>
              <a:t>execution</a:t>
            </a:r>
            <a:r>
              <a:rPr lang="fr-BE" sz="2000" b="1" dirty="0">
                <a:solidFill>
                  <a:schemeClr val="accent5"/>
                </a:solidFill>
              </a:rPr>
              <a:t> </a:t>
            </a:r>
            <a:r>
              <a:rPr lang="fr-BE" sz="2000" b="1" dirty="0"/>
              <a:t>and control</a:t>
            </a:r>
            <a:endParaRPr lang="en-US" sz="2000" b="1" dirty="0"/>
          </a:p>
        </p:txBody>
      </p:sp>
      <p:sp>
        <p:nvSpPr>
          <p:cNvPr id="18" name="Content Placeholder 10"/>
          <p:cNvSpPr txBox="1">
            <a:spLocks/>
          </p:cNvSpPr>
          <p:nvPr/>
        </p:nvSpPr>
        <p:spPr>
          <a:xfrm>
            <a:off x="3776774" y="3984720"/>
            <a:ext cx="8539917" cy="11798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</a:pPr>
            <a:r>
              <a:rPr lang="en-US" sz="2000" b="1" dirty="0">
                <a:solidFill>
                  <a:schemeClr val="accent5"/>
                </a:solidFill>
              </a:rPr>
              <a:t>Reduced</a:t>
            </a:r>
            <a:r>
              <a:rPr lang="en-US" sz="2000" b="1" dirty="0"/>
              <a:t> need in quarry materials</a:t>
            </a:r>
          </a:p>
          <a:p>
            <a:pPr>
              <a:buClr>
                <a:schemeClr val="tx2"/>
              </a:buClr>
            </a:pPr>
            <a:r>
              <a:rPr lang="en-US" sz="2000" b="1" dirty="0">
                <a:solidFill>
                  <a:schemeClr val="accent5"/>
                </a:solidFill>
              </a:rPr>
              <a:t>Reduced</a:t>
            </a:r>
            <a:r>
              <a:rPr lang="en-US" sz="2000" b="1" dirty="0"/>
              <a:t> supply chain costs</a:t>
            </a:r>
          </a:p>
          <a:p>
            <a:pPr>
              <a:buClr>
                <a:schemeClr val="tx2"/>
              </a:buClr>
            </a:pPr>
            <a:r>
              <a:rPr lang="en-US" sz="2000" b="1" dirty="0">
                <a:solidFill>
                  <a:schemeClr val="accent5"/>
                </a:solidFill>
              </a:rPr>
              <a:t>Reduced </a:t>
            </a:r>
            <a:r>
              <a:rPr lang="en-US" sz="2000" b="1" dirty="0"/>
              <a:t>landfilling costs and </a:t>
            </a:r>
            <a:r>
              <a:rPr lang="en-US" sz="2000" b="1" dirty="0" err="1"/>
              <a:t>landfillling</a:t>
            </a:r>
            <a:r>
              <a:rPr lang="en-US" sz="2000" b="1" dirty="0"/>
              <a:t> tax cos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759131" y="2967419"/>
            <a:ext cx="2664134" cy="9334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759131" y="4166391"/>
            <a:ext cx="2664134" cy="93349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59131" y="5453463"/>
            <a:ext cx="2664134" cy="9334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chemeClr val="bg1"/>
              </a:solidFill>
            </a:endParaRPr>
          </a:p>
        </p:txBody>
      </p:sp>
      <p:sp>
        <p:nvSpPr>
          <p:cNvPr id="9" name="Content Placeholder 10"/>
          <p:cNvSpPr txBox="1">
            <a:spLocks/>
          </p:cNvSpPr>
          <p:nvPr/>
        </p:nvSpPr>
        <p:spPr>
          <a:xfrm>
            <a:off x="759131" y="3116735"/>
            <a:ext cx="2664134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fr-BE" sz="1800" b="1" dirty="0">
                <a:solidFill>
                  <a:schemeClr val="bg1"/>
                </a:solidFill>
              </a:rPr>
              <a:t>More </a:t>
            </a:r>
            <a:r>
              <a:rPr lang="fr-BE" sz="1800" b="1" dirty="0" err="1">
                <a:solidFill>
                  <a:schemeClr val="bg1"/>
                </a:solidFill>
              </a:rPr>
              <a:t>Safety</a:t>
            </a:r>
            <a:r>
              <a:rPr lang="fr-BE" sz="1800" b="1" dirty="0">
                <a:solidFill>
                  <a:schemeClr val="bg1"/>
                </a:solidFill>
              </a:rPr>
              <a:t> and </a:t>
            </a:r>
            <a:r>
              <a:rPr lang="fr-BE" sz="1800" b="1" dirty="0" err="1">
                <a:solidFill>
                  <a:schemeClr val="bg1"/>
                </a:solidFill>
              </a:rPr>
              <a:t>well-being</a:t>
            </a:r>
            <a:endParaRPr lang="en-US" sz="1800" b="1" dirty="0">
              <a:solidFill>
                <a:schemeClr val="bg1"/>
              </a:solidFill>
            </a:endParaRPr>
          </a:p>
        </p:txBody>
      </p:sp>
      <p:sp>
        <p:nvSpPr>
          <p:cNvPr id="13" name="Content Placeholder 10"/>
          <p:cNvSpPr txBox="1">
            <a:spLocks/>
          </p:cNvSpPr>
          <p:nvPr/>
        </p:nvSpPr>
        <p:spPr>
          <a:xfrm>
            <a:off x="759131" y="4447189"/>
            <a:ext cx="2664134" cy="3416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tx2"/>
              </a:buClr>
              <a:buNone/>
            </a:pPr>
            <a:r>
              <a:rPr lang="en-US" sz="1800" b="1" dirty="0">
                <a:solidFill>
                  <a:schemeClr val="bg1"/>
                </a:solidFill>
              </a:rPr>
              <a:t>Reduced cost</a:t>
            </a:r>
          </a:p>
        </p:txBody>
      </p:sp>
      <p:sp>
        <p:nvSpPr>
          <p:cNvPr id="17" name="Content Placeholder 10"/>
          <p:cNvSpPr txBox="1">
            <a:spLocks/>
          </p:cNvSpPr>
          <p:nvPr/>
        </p:nvSpPr>
        <p:spPr>
          <a:xfrm>
            <a:off x="759131" y="5640901"/>
            <a:ext cx="2664134" cy="5909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tx2"/>
              </a:buClr>
              <a:buNone/>
            </a:pPr>
            <a:r>
              <a:rPr lang="en-US" sz="1800" b="1" dirty="0">
                <a:solidFill>
                  <a:schemeClr val="bg1"/>
                </a:solidFill>
              </a:rPr>
              <a:t>Reduced  </a:t>
            </a:r>
            <a:r>
              <a:rPr lang="en-US" sz="1800" b="1" dirty="0" err="1">
                <a:solidFill>
                  <a:schemeClr val="bg1"/>
                </a:solidFill>
              </a:rPr>
              <a:t>ccnstruction</a:t>
            </a:r>
            <a:r>
              <a:rPr lang="en-US" sz="1800" b="1" dirty="0">
                <a:solidFill>
                  <a:schemeClr val="bg1"/>
                </a:solidFill>
              </a:rPr>
              <a:t> tim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686210" y="1203734"/>
            <a:ext cx="10540590" cy="386242"/>
          </a:xfrm>
          <a:prstGeom prst="rect">
            <a:avLst/>
          </a:prstGeom>
        </p:spPr>
        <p:txBody>
          <a:bodyPr/>
          <a:lstStyle/>
          <a:p>
            <a:pPr marL="457200" lvl="1" indent="0">
              <a:buNone/>
            </a:pPr>
            <a:r>
              <a:rPr lang="en-US" dirty="0"/>
              <a:t>Saving natural resources, execution time &amp; money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686210" y="676811"/>
            <a:ext cx="10540590" cy="480131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dirty="0"/>
              <a:t>A sustainable, future proof solution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832350" y="1576092"/>
            <a:ext cx="29895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1400" b="1" dirty="0"/>
              <a:t>EU - Green Public </a:t>
            </a:r>
            <a:r>
              <a:rPr lang="fr-BE" sz="1400" b="1" dirty="0" err="1"/>
              <a:t>Procurement</a:t>
            </a:r>
            <a:r>
              <a:rPr lang="fr-BE" sz="1400" b="1" dirty="0"/>
              <a:t> </a:t>
            </a:r>
            <a:r>
              <a:rPr lang="fr-BE" sz="1400" b="1" dirty="0" err="1"/>
              <a:t>Approved</a:t>
            </a:r>
            <a:endParaRPr lang="en-US" sz="1400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377" t="36526" r="1795" b="40229"/>
          <a:stretch/>
        </p:blipFill>
        <p:spPr>
          <a:xfrm>
            <a:off x="9511468" y="427242"/>
            <a:ext cx="1518284" cy="1183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6613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D31DB1-C101-5FE1-638C-FAD3B2505D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D31DB1-C101-5FE1-638C-FAD3B2505D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556"/>
          <a:stretch/>
        </p:blipFill>
        <p:spPr bwMode="auto">
          <a:xfrm>
            <a:off x="0" y="0"/>
            <a:ext cx="12382499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hteck 7"/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2133" dirty="0">
              <a:solidFill>
                <a:schemeClr val="tx1"/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0" y="35587"/>
            <a:ext cx="4708478" cy="3703900"/>
          </a:xfrm>
        </p:spPr>
        <p:txBody>
          <a:bodyPr vert="horz">
            <a:noAutofit/>
          </a:bodyPr>
          <a:lstStyle/>
          <a:p>
            <a:r>
              <a:rPr lang="en-GB" sz="3600" noProof="0" dirty="0"/>
              <a:t>Soil improvement with quicklime</a:t>
            </a:r>
            <a:br>
              <a:rPr lang="en-GB" sz="3600" noProof="0" dirty="0"/>
            </a:br>
            <a:br>
              <a:rPr lang="en-GB" sz="3600" noProof="0" dirty="0"/>
            </a:br>
            <a:r>
              <a:rPr lang="en-GB" sz="1800" b="0" dirty="0"/>
              <a:t>Quantification of the carbonation rate </a:t>
            </a:r>
            <a:br>
              <a:rPr lang="en-GB" sz="1800" b="0" dirty="0"/>
            </a:br>
            <a:r>
              <a:rPr lang="en-GB" sz="1800" b="0" dirty="0"/>
              <a:t>in an embankment </a:t>
            </a:r>
            <a:br>
              <a:rPr lang="en-GB" sz="1800" b="0" dirty="0"/>
            </a:br>
            <a:r>
              <a:rPr lang="en-GB" sz="1800" b="0" dirty="0"/>
              <a:t>after 34 years</a:t>
            </a:r>
          </a:p>
        </p:txBody>
      </p:sp>
      <p:sp>
        <p:nvSpPr>
          <p:cNvPr id="12" name="Titel 8"/>
          <p:cNvSpPr txBox="1">
            <a:spLocks/>
          </p:cNvSpPr>
          <p:nvPr/>
        </p:nvSpPr>
        <p:spPr bwMode="auto">
          <a:xfrm>
            <a:off x="3215680" y="5445224"/>
            <a:ext cx="8832981" cy="1412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8000" tIns="60960" rIns="0" bIns="6096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66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66"/>
                </a:solidFill>
                <a:latin typeface="Trebuchet MS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66"/>
                </a:solidFill>
                <a:latin typeface="Trebuchet MS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66"/>
                </a:solidFill>
                <a:latin typeface="Trebuchet MS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66"/>
                </a:solidFill>
                <a:latin typeface="Trebuchet MS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66"/>
                </a:solidFill>
                <a:latin typeface="Trebuchet MS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66"/>
                </a:solidFill>
                <a:latin typeface="Trebuchet MS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66"/>
                </a:solidFill>
                <a:latin typeface="Trebuchet MS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66"/>
                </a:solidFill>
                <a:latin typeface="Trebuchet MS" pitchFamily="34" charset="0"/>
              </a:defRPr>
            </a:lvl9pPr>
          </a:lstStyle>
          <a:p>
            <a:pPr marL="1310185" indent="-1310185" algn="l"/>
            <a:r>
              <a:rPr lang="en-US" sz="1867" b="0" kern="0" dirty="0">
                <a:solidFill>
                  <a:schemeClr val="tx1"/>
                </a:solidFill>
              </a:rPr>
              <a:t>	</a:t>
            </a:r>
            <a:r>
              <a:rPr lang="en-US" sz="1867" b="0" kern="0" dirty="0"/>
              <a:t>S. Haas, S. </a:t>
            </a:r>
            <a:r>
              <a:rPr lang="en-GB" sz="1867" b="0" kern="0" dirty="0"/>
              <a:t>Hammerschmidt</a:t>
            </a:r>
            <a:r>
              <a:rPr lang="en-US" sz="1867" b="0" kern="0" dirty="0"/>
              <a:t> </a:t>
            </a:r>
            <a:r>
              <a:rPr lang="en-US" sz="1467" b="0" kern="0" dirty="0"/>
              <a:t>(</a:t>
            </a:r>
            <a:r>
              <a:rPr lang="en-GB" sz="1467" b="0" kern="0" dirty="0"/>
              <a:t>Institute of lime and mortar research, Germany)</a:t>
            </a:r>
            <a:endParaRPr lang="de-DE" sz="1467" b="0" kern="0" dirty="0"/>
          </a:p>
          <a:p>
            <a:pPr marL="1310185" indent="-1310185" algn="l"/>
            <a:r>
              <a:rPr lang="en-GB" sz="1867" b="0" kern="0" dirty="0"/>
              <a:t>	A. </a:t>
            </a:r>
            <a:r>
              <a:rPr lang="en-GB" sz="1867" b="0" kern="0" dirty="0" err="1"/>
              <a:t>Shtiza</a:t>
            </a:r>
            <a:r>
              <a:rPr lang="en-GB" sz="1867" b="0" kern="0" dirty="0"/>
              <a:t> </a:t>
            </a:r>
            <a:r>
              <a:rPr lang="en-GB" sz="1467" b="0" kern="0" dirty="0"/>
              <a:t>(Industrial Minerals Association Europe, IMA-Europe, Belgium)</a:t>
            </a:r>
            <a:br>
              <a:rPr lang="de-DE" sz="1467" b="0" kern="0" dirty="0"/>
            </a:br>
            <a:r>
              <a:rPr lang="en-GB" sz="1867" b="0" kern="0" dirty="0"/>
              <a:t>Ch. </a:t>
            </a:r>
            <a:r>
              <a:rPr lang="en-GB" sz="1867" b="0" kern="0" dirty="0" err="1"/>
              <a:t>Denayer</a:t>
            </a:r>
            <a:r>
              <a:rPr lang="en-GB" sz="1867" b="0" kern="0" dirty="0"/>
              <a:t> </a:t>
            </a:r>
            <a:r>
              <a:rPr lang="en-GB" sz="1467" b="0" kern="0" dirty="0"/>
              <a:t>(Carmeuse, Belgium)</a:t>
            </a:r>
            <a:br>
              <a:rPr lang="de-DE" sz="1467" b="0" kern="0" dirty="0"/>
            </a:br>
            <a:r>
              <a:rPr lang="en-GB" sz="1867" b="0" kern="0" dirty="0"/>
              <a:t>D. Scutt </a:t>
            </a:r>
            <a:r>
              <a:rPr lang="en-GB" sz="1467" b="0" kern="0" dirty="0"/>
              <a:t>(Singleton Birch, United Kingdom)</a:t>
            </a:r>
            <a:endParaRPr lang="de-DE" sz="2667" b="0" kern="0" dirty="0"/>
          </a:p>
        </p:txBody>
      </p:sp>
    </p:spTree>
    <p:extLst>
      <p:ext uri="{BB962C8B-B14F-4D97-AF65-F5344CB8AC3E}">
        <p14:creationId xmlns:p14="http://schemas.microsoft.com/office/powerpoint/2010/main" val="28716283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3F70489-DDD5-4973-472A-2094575B89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3F70489-DDD5-4973-472A-2094575B8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119675" y="406655"/>
            <a:ext cx="10416480" cy="908050"/>
          </a:xfrm>
        </p:spPr>
        <p:txBody>
          <a:bodyPr vert="horz"/>
          <a:lstStyle/>
          <a:p>
            <a:r>
              <a:rPr lang="en-GB" dirty="0"/>
              <a:t>Facts</a:t>
            </a:r>
            <a:endParaRPr lang="en-GB" noProof="0" dirty="0"/>
          </a:p>
        </p:txBody>
      </p:sp>
      <p:sp>
        <p:nvSpPr>
          <p:cNvPr id="10" name="Inhaltsplatzhalter 9"/>
          <p:cNvSpPr>
            <a:spLocks noGrp="1"/>
          </p:cNvSpPr>
          <p:nvPr>
            <p:ph sz="half" idx="2"/>
          </p:nvPr>
        </p:nvSpPr>
        <p:spPr>
          <a:xfrm>
            <a:off x="5327915" y="1883390"/>
            <a:ext cx="6572736" cy="4380163"/>
          </a:xfrm>
        </p:spPr>
        <p:txBody>
          <a:bodyPr>
            <a:normAutofit/>
          </a:bodyPr>
          <a:lstStyle/>
          <a:p>
            <a:pPr marL="609585" indent="-609585"/>
            <a:r>
              <a:rPr lang="en-GB" sz="2800" dirty="0"/>
              <a:t>Motorway A3 in South-Germany</a:t>
            </a:r>
          </a:p>
          <a:p>
            <a:pPr marL="609585" indent="-609585"/>
            <a:r>
              <a:rPr lang="en-GB" sz="2800" dirty="0"/>
              <a:t>Built in 1979</a:t>
            </a:r>
          </a:p>
          <a:p>
            <a:pPr marL="609585" indent="-609585"/>
            <a:r>
              <a:rPr lang="en-GB" sz="2800" dirty="0"/>
              <a:t>E</a:t>
            </a:r>
            <a:r>
              <a:rPr lang="en-GB" sz="2800" dirty="0" err="1"/>
              <a:t>mbankment</a:t>
            </a:r>
            <a:r>
              <a:rPr lang="en-GB" sz="2800" dirty="0"/>
              <a:t> 10 m high</a:t>
            </a:r>
          </a:p>
          <a:p>
            <a:pPr marL="609585" indent="-609585"/>
            <a:r>
              <a:rPr lang="en-GB" sz="2800" dirty="0"/>
              <a:t>Built in layers</a:t>
            </a:r>
          </a:p>
          <a:p>
            <a:pPr marL="609585" indent="-609585"/>
            <a:r>
              <a:rPr lang="en-GB" sz="2800" dirty="0"/>
              <a:t>Soil treatment with lime </a:t>
            </a:r>
          </a:p>
          <a:p>
            <a:pPr marL="609585" indent="-609585"/>
            <a:r>
              <a:rPr lang="en-US" sz="2800" dirty="0"/>
              <a:t>Varying  lime dosages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72957-E126-4587-9197-E53CC3F424B1}" type="slidenum">
              <a:rPr lang="de-DE" smtClean="0"/>
              <a:pPr/>
              <a:t>29</a:t>
            </a:fld>
            <a:endParaRPr lang="de-DE"/>
          </a:p>
        </p:txBody>
      </p:sp>
      <p:pic>
        <p:nvPicPr>
          <p:cNvPr id="11" name="Picture 2" descr="C:\Users\haas\Desktop\Autobahnen_in_Deutschland_svg.png"/>
          <p:cNvPicPr>
            <a:picLocks noGrp="1" noChangeAspect="1" noChangeArrowheads="1"/>
          </p:cNvPicPr>
          <p:nvPr>
            <p:ph sz="half"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937" y="984677"/>
            <a:ext cx="3868459" cy="5278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Pfeil nach unten 11"/>
          <p:cNvSpPr/>
          <p:nvPr/>
        </p:nvSpPr>
        <p:spPr>
          <a:xfrm>
            <a:off x="3599246" y="4558105"/>
            <a:ext cx="384043" cy="480053"/>
          </a:xfrm>
          <a:prstGeom prst="downArrow">
            <a:avLst/>
          </a:prstGeom>
          <a:solidFill>
            <a:srgbClr val="C00000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5" name="Rechteck 14"/>
          <p:cNvSpPr/>
          <p:nvPr/>
        </p:nvSpPr>
        <p:spPr>
          <a:xfrm>
            <a:off x="345940" y="6295776"/>
            <a:ext cx="18293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>
                <a:hlinkClick r:id="rId6"/>
              </a:rPr>
              <a:t>Wikipedia, © BY 2.5</a:t>
            </a:r>
            <a:endParaRPr lang="de-DE" sz="1400" dirty="0"/>
          </a:p>
        </p:txBody>
      </p:sp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B7B96152-54E1-683B-8675-B457F298A6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416480" y="6492873"/>
            <a:ext cx="1325245" cy="365125"/>
          </a:xfrm>
        </p:spPr>
        <p:txBody>
          <a:bodyPr/>
          <a:lstStyle/>
          <a:p>
            <a:r>
              <a:rPr lang="en-US" sz="1200" dirty="0"/>
              <a:t>Source : BVK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5956428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66"/>
          <p:cNvSpPr/>
          <p:nvPr/>
        </p:nvSpPr>
        <p:spPr>
          <a:xfrm>
            <a:off x="9653047" y="1571912"/>
            <a:ext cx="2053106" cy="4672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9653047" y="2392517"/>
            <a:ext cx="2053106" cy="4672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9653047" y="3210190"/>
            <a:ext cx="2053106" cy="4672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9653047" y="5672005"/>
            <a:ext cx="2053106" cy="4672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9653047" y="4851400"/>
            <a:ext cx="2053106" cy="4672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9653047" y="4030795"/>
            <a:ext cx="2053106" cy="4672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b="1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6253154" y="1461155"/>
            <a:ext cx="5453000" cy="688722"/>
            <a:chOff x="6253154" y="1461155"/>
            <a:chExt cx="5453000" cy="688722"/>
          </a:xfrm>
        </p:grpSpPr>
        <p:sp>
          <p:nvSpPr>
            <p:cNvPr id="19" name="Rectangle 18"/>
            <p:cNvSpPr/>
            <p:nvPr/>
          </p:nvSpPr>
          <p:spPr>
            <a:xfrm>
              <a:off x="6253154" y="1461155"/>
              <a:ext cx="3219593" cy="6887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2000">
                  <a:solidFill>
                    <a:schemeClr val="tx1"/>
                  </a:solidFill>
                  <a:latin typeface="+mj-lt"/>
                </a:rPr>
                <a:t>Turnover 2021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9653048" y="1571912"/>
              <a:ext cx="2053106" cy="467208"/>
            </a:xfrm>
            <a:prstGeom prst="rect">
              <a:avLst/>
            </a:prstGeom>
            <a:solidFill>
              <a:srgbClr val="0067B3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b="1">
                  <a:solidFill>
                    <a:schemeClr val="bg1"/>
                  </a:solidFill>
                  <a:latin typeface="+mj-lt"/>
                </a:rPr>
                <a:t>EUR 1.4 billion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6253154" y="2281760"/>
            <a:ext cx="5453000" cy="688722"/>
            <a:chOff x="6253154" y="2281760"/>
            <a:chExt cx="5453000" cy="688722"/>
          </a:xfrm>
        </p:grpSpPr>
        <p:sp>
          <p:nvSpPr>
            <p:cNvPr id="13" name="Rectangle 12"/>
            <p:cNvSpPr/>
            <p:nvPr/>
          </p:nvSpPr>
          <p:spPr>
            <a:xfrm>
              <a:off x="6253154" y="2281760"/>
              <a:ext cx="3219593" cy="6887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2000">
                  <a:solidFill>
                    <a:schemeClr val="tx1"/>
                  </a:solidFill>
                  <a:latin typeface="+mj-lt"/>
                </a:rPr>
                <a:t>Number of employees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9653048" y="2392517"/>
              <a:ext cx="2053106" cy="467208"/>
            </a:xfrm>
            <a:prstGeom prst="rect">
              <a:avLst/>
            </a:prstGeom>
            <a:solidFill>
              <a:srgbClr val="0067B3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b="1">
                  <a:solidFill>
                    <a:schemeClr val="bg1"/>
                  </a:solidFill>
                  <a:latin typeface="+mj-lt"/>
                </a:rPr>
                <a:t>+/- 4,500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6253154" y="3099433"/>
            <a:ext cx="5453000" cy="688722"/>
            <a:chOff x="6253154" y="3099433"/>
            <a:chExt cx="5453000" cy="688722"/>
          </a:xfrm>
        </p:grpSpPr>
        <p:sp>
          <p:nvSpPr>
            <p:cNvPr id="22" name="Rectangle 21"/>
            <p:cNvSpPr/>
            <p:nvPr/>
          </p:nvSpPr>
          <p:spPr>
            <a:xfrm>
              <a:off x="6253154" y="3099433"/>
              <a:ext cx="3219593" cy="6887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2000">
                  <a:solidFill>
                    <a:schemeClr val="tx1"/>
                  </a:solidFill>
                  <a:latin typeface="+mj-lt"/>
                </a:rPr>
                <a:t>Tonne of lime delivered</a:t>
              </a:r>
            </a:p>
            <a:p>
              <a:pPr algn="r"/>
              <a:r>
                <a:rPr lang="en-US" sz="2000">
                  <a:solidFill>
                    <a:schemeClr val="tx1"/>
                  </a:solidFill>
                  <a:latin typeface="+mj-lt"/>
                </a:rPr>
                <a:t>to customers per year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9653048" y="3210190"/>
              <a:ext cx="2053106" cy="467208"/>
            </a:xfrm>
            <a:prstGeom prst="rect">
              <a:avLst/>
            </a:prstGeom>
            <a:solidFill>
              <a:schemeClr val="accent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b="1">
                  <a:solidFill>
                    <a:schemeClr val="bg1"/>
                  </a:solidFill>
                  <a:latin typeface="+mj-lt"/>
                </a:rPr>
                <a:t>+/- 9 million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253154" y="5561248"/>
            <a:ext cx="5453000" cy="688722"/>
            <a:chOff x="6253154" y="5561248"/>
            <a:chExt cx="5453000" cy="688722"/>
          </a:xfrm>
        </p:grpSpPr>
        <p:sp>
          <p:nvSpPr>
            <p:cNvPr id="28" name="Rectangle 27"/>
            <p:cNvSpPr/>
            <p:nvPr/>
          </p:nvSpPr>
          <p:spPr>
            <a:xfrm>
              <a:off x="6253154" y="5561248"/>
              <a:ext cx="3219593" cy="6887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2000">
                  <a:solidFill>
                    <a:schemeClr val="tx1"/>
                  </a:solidFill>
                  <a:latin typeface="+mj-lt"/>
                </a:rPr>
                <a:t>Number of customer </a:t>
              </a:r>
            </a:p>
            <a:p>
              <a:pPr algn="r"/>
              <a:r>
                <a:rPr lang="en-US" sz="2000">
                  <a:solidFill>
                    <a:schemeClr val="tx1"/>
                  </a:solidFill>
                  <a:latin typeface="+mj-lt"/>
                </a:rPr>
                <a:t>sites served globally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9653048" y="5672005"/>
              <a:ext cx="2053106" cy="467208"/>
            </a:xfrm>
            <a:prstGeom prst="rect">
              <a:avLst/>
            </a:prstGeom>
            <a:solidFill>
              <a:schemeClr val="accent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b="1">
                  <a:solidFill>
                    <a:schemeClr val="bg1"/>
                  </a:solidFill>
                  <a:latin typeface="+mj-lt"/>
                </a:rPr>
                <a:t>12,700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253154" y="4740643"/>
            <a:ext cx="5453000" cy="688722"/>
            <a:chOff x="6253154" y="4740643"/>
            <a:chExt cx="5453000" cy="688722"/>
          </a:xfrm>
        </p:grpSpPr>
        <p:sp>
          <p:nvSpPr>
            <p:cNvPr id="26" name="Rectangle 25"/>
            <p:cNvSpPr/>
            <p:nvPr/>
          </p:nvSpPr>
          <p:spPr>
            <a:xfrm>
              <a:off x="6253154" y="4740643"/>
              <a:ext cx="3219593" cy="6887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2000">
                  <a:solidFill>
                    <a:schemeClr val="tx1"/>
                  </a:solidFill>
                  <a:latin typeface="+mj-lt"/>
                </a:rPr>
                <a:t>Number of limestone quarries around the world</a:t>
              </a: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9653048" y="4851400"/>
              <a:ext cx="2053106" cy="467208"/>
            </a:xfrm>
            <a:prstGeom prst="rect">
              <a:avLst/>
            </a:prstGeom>
            <a:solidFill>
              <a:schemeClr val="accent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b="1">
                  <a:solidFill>
                    <a:schemeClr val="bg1"/>
                  </a:solidFill>
                  <a:latin typeface="+mj-lt"/>
                </a:rPr>
                <a:t>60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6253154" y="3920038"/>
            <a:ext cx="5453000" cy="688722"/>
            <a:chOff x="6253154" y="3920038"/>
            <a:chExt cx="5453000" cy="688722"/>
          </a:xfrm>
        </p:grpSpPr>
        <p:sp>
          <p:nvSpPr>
            <p:cNvPr id="24" name="Rectangle 23"/>
            <p:cNvSpPr/>
            <p:nvPr/>
          </p:nvSpPr>
          <p:spPr>
            <a:xfrm>
              <a:off x="6253154" y="3920038"/>
              <a:ext cx="3219593" cy="6887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2000">
                  <a:solidFill>
                    <a:schemeClr val="tx1"/>
                  </a:solidFill>
                  <a:latin typeface="+mj-lt"/>
                </a:rPr>
                <a:t>Number of plants</a:t>
              </a:r>
            </a:p>
            <a:p>
              <a:pPr algn="r"/>
              <a:r>
                <a:rPr lang="en-US" sz="2000">
                  <a:solidFill>
                    <a:schemeClr val="tx1"/>
                  </a:solidFill>
                  <a:latin typeface="+mj-lt"/>
                </a:rPr>
                <a:t>around the world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9653048" y="4030795"/>
              <a:ext cx="2053106" cy="467208"/>
            </a:xfrm>
            <a:prstGeom prst="rect">
              <a:avLst/>
            </a:prstGeom>
            <a:solidFill>
              <a:schemeClr val="accent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b="1">
                  <a:solidFill>
                    <a:schemeClr val="bg1"/>
                  </a:solidFill>
                  <a:latin typeface="+mj-lt"/>
                </a:rPr>
                <a:t>90</a:t>
              </a:r>
            </a:p>
          </p:txBody>
        </p:sp>
      </p:grpSp>
      <p:pic>
        <p:nvPicPr>
          <p:cNvPr id="63" name="Picture 62"/>
          <p:cNvPicPr preferRelativeResize="0">
            <a:picLocks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5700" y="1461155"/>
            <a:ext cx="4791456" cy="4791456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EC7617C-07C2-BAE5-51E3-C0842561DE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6210" y="676811"/>
            <a:ext cx="10540590" cy="523220"/>
          </a:xfrm>
        </p:spPr>
        <p:txBody>
          <a:bodyPr/>
          <a:lstStyle/>
          <a:p>
            <a:r>
              <a:rPr lang="fr-BE"/>
              <a:t>CARMEUSE IN A SNAPSHOT</a:t>
            </a:r>
          </a:p>
        </p:txBody>
      </p:sp>
    </p:spTree>
    <p:extLst>
      <p:ext uri="{BB962C8B-B14F-4D97-AF65-F5344CB8AC3E}">
        <p14:creationId xmlns:p14="http://schemas.microsoft.com/office/powerpoint/2010/main" val="39311095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31566A0-CF99-61D9-6EFD-AEDD804EA1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31566A0-CF99-61D9-6EFD-AEDD804EA1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350" y="363803"/>
            <a:ext cx="10416480" cy="908050"/>
          </a:xfrm>
        </p:spPr>
        <p:txBody>
          <a:bodyPr vert="horz"/>
          <a:lstStyle/>
          <a:p>
            <a:r>
              <a:rPr lang="en-GB" noProof="0" dirty="0"/>
              <a:t>Initial Situation1979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23926" y="1528549"/>
            <a:ext cx="6476725" cy="4735004"/>
          </a:xfrm>
        </p:spPr>
        <p:txBody>
          <a:bodyPr>
            <a:normAutofit/>
          </a:bodyPr>
          <a:lstStyle/>
          <a:p>
            <a:pPr marL="609585" indent="-609585"/>
            <a:r>
              <a:rPr lang="en-GB" sz="2800" dirty="0"/>
              <a:t>Soil:</a:t>
            </a:r>
          </a:p>
          <a:p>
            <a:pPr marL="1142971" lvl="1" indent="-609585"/>
            <a:r>
              <a:rPr lang="en-GB" dirty="0"/>
              <a:t>Soft silt</a:t>
            </a:r>
          </a:p>
          <a:p>
            <a:pPr marL="1142971" lvl="1" indent="-609585"/>
            <a:r>
              <a:rPr lang="en-GB" dirty="0"/>
              <a:t>W</a:t>
            </a:r>
            <a:r>
              <a:rPr lang="en-GB" dirty="0" err="1"/>
              <a:t>ater</a:t>
            </a:r>
            <a:r>
              <a:rPr lang="en-GB" dirty="0"/>
              <a:t>-bearing sands</a:t>
            </a:r>
          </a:p>
          <a:p>
            <a:pPr marL="1142971" lvl="1" indent="-609585"/>
            <a:r>
              <a:rPr lang="en-GB" dirty="0"/>
              <a:t>Coal-bearing clay</a:t>
            </a:r>
          </a:p>
          <a:p>
            <a:pPr marL="609585" indent="-609585"/>
            <a:r>
              <a:rPr lang="en-GB" sz="2800" dirty="0"/>
              <a:t>Embankment:</a:t>
            </a:r>
          </a:p>
          <a:p>
            <a:pPr marL="1142971" lvl="1" indent="-609585"/>
            <a:r>
              <a:rPr lang="en-GB" dirty="0"/>
              <a:t>200.000 m³ excavated silt</a:t>
            </a:r>
          </a:p>
          <a:p>
            <a:pPr marL="1142971" lvl="1" indent="-609585"/>
            <a:r>
              <a:rPr lang="en-GB" dirty="0"/>
              <a:t>&gt; 20 % (w/w) water content</a:t>
            </a:r>
          </a:p>
          <a:p>
            <a:pPr marL="1142971" lvl="1" indent="-609585"/>
            <a:r>
              <a:rPr lang="en-GB" dirty="0"/>
              <a:t>~ 2.5 % (w/w) </a:t>
            </a:r>
            <a:r>
              <a:rPr lang="en-GB" dirty="0" err="1"/>
              <a:t>Calciumoxide</a:t>
            </a:r>
            <a:endParaRPr lang="en-GB" dirty="0"/>
          </a:p>
          <a:p>
            <a:pPr marL="533386" lvl="1" indent="0">
              <a:buNone/>
            </a:pPr>
            <a:endParaRPr lang="en-GB" dirty="0">
              <a:sym typeface="Wingdings 3"/>
            </a:endParaRPr>
          </a:p>
          <a:p>
            <a:pPr marL="533386" lvl="1" indent="0">
              <a:buNone/>
            </a:pPr>
            <a:r>
              <a:rPr lang="en-GB" sz="2800" dirty="0">
                <a:sym typeface="Wingdings 3"/>
              </a:rPr>
              <a:t>8500 t </a:t>
            </a:r>
            <a:r>
              <a:rPr lang="en-GB" sz="2800" dirty="0"/>
              <a:t>quicklime (CL 90 Q)</a:t>
            </a:r>
          </a:p>
          <a:p>
            <a:endParaRPr lang="en-GB" sz="1800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E8E2E1-8AE1-471B-B84C-B6B84B62F2F2}" type="slidenum">
              <a:rPr lang="de-DE" smtClean="0"/>
              <a:pPr/>
              <a:t>30</a:t>
            </a:fld>
            <a:endParaRPr lang="de-DE"/>
          </a:p>
        </p:txBody>
      </p:sp>
      <p:pic>
        <p:nvPicPr>
          <p:cNvPr id="8" name="Inhaltsplatzhalter 7"/>
          <p:cNvPicPr>
            <a:picLocks noGrp="1" noChangeAspect="1"/>
          </p:cNvPicPr>
          <p:nvPr>
            <p:ph sz="half"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356" y="3515015"/>
            <a:ext cx="5088565" cy="3341025"/>
          </a:xfrm>
          <a:prstGeom prst="rect">
            <a:avLst/>
          </a:prstGeom>
        </p:spPr>
      </p:pic>
      <p:pic>
        <p:nvPicPr>
          <p:cNvPr id="9" name="Picture 2" descr="N:\stb-ltg\Administration StB\Eula\ATF\Research\Bv mit Kalk_Langzeit\Baustelle Deggendorf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350" y="635090"/>
            <a:ext cx="5184576" cy="3393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1" name="Gerade Verbindung 10"/>
          <p:cNvCxnSpPr/>
          <p:nvPr/>
        </p:nvCxnSpPr>
        <p:spPr>
          <a:xfrm>
            <a:off x="239350" y="4028407"/>
            <a:ext cx="5184576" cy="0"/>
          </a:xfrm>
          <a:prstGeom prst="line">
            <a:avLst/>
          </a:prstGeom>
          <a:ln w="635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FC3240F8-9200-173B-3754-BE9765F20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416480" y="6492873"/>
            <a:ext cx="1325245" cy="365125"/>
          </a:xfrm>
        </p:spPr>
        <p:txBody>
          <a:bodyPr/>
          <a:lstStyle/>
          <a:p>
            <a:r>
              <a:rPr lang="en-US" sz="1200" dirty="0"/>
              <a:t>Source : BVK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07722903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BA692A-BDCF-8A8A-1219-DD02A71020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6BA692A-BDCF-8A8A-1219-DD02A71020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6555" y="463689"/>
            <a:ext cx="10416480" cy="908050"/>
          </a:xfrm>
        </p:spPr>
        <p:txBody>
          <a:bodyPr vert="horz"/>
          <a:lstStyle/>
          <a:p>
            <a:r>
              <a:rPr lang="en-GB" dirty="0"/>
              <a:t>Drilling sit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E8E2E1-8AE1-471B-B84C-B6B84B62F2F2}" type="slidenum">
              <a:rPr lang="de-DE" smtClean="0"/>
              <a:pPr/>
              <a:t>31</a:t>
            </a:fld>
            <a:endParaRPr lang="de-DE"/>
          </a:p>
        </p:txBody>
      </p:sp>
      <p:pic>
        <p:nvPicPr>
          <p:cNvPr id="8" name="Inhaltsplatzhalter 6"/>
          <p:cNvPicPr>
            <a:picLocks noGrp="1" noChangeAspect="1"/>
          </p:cNvPicPr>
          <p:nvPr>
            <p:ph sz="half"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1028734"/>
            <a:ext cx="3423588" cy="4783751"/>
          </a:xfrm>
        </p:spPr>
      </p:pic>
      <p:pic>
        <p:nvPicPr>
          <p:cNvPr id="9" name="Picture 2" descr="N:\stb-ltg\Administration StB\Eula\ATF - CETF\Research\Bv mit Kalk_Langzeit\2013-11-27 Bogen-Bohrung_Bilder\DSC09844.JPG"/>
          <p:cNvPicPr>
            <a:picLocks noGrp="1" noChangeAspect="1" noChangeArrowheads="1"/>
          </p:cNvPicPr>
          <p:nvPr>
            <p:ph sz="half" idx="2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94365" y="1028734"/>
            <a:ext cx="3169720" cy="4771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Inhaltsplatzhalter 2"/>
          <p:cNvSpPr txBox="1">
            <a:spLocks/>
          </p:cNvSpPr>
          <p:nvPr/>
        </p:nvSpPr>
        <p:spPr bwMode="auto">
          <a:xfrm>
            <a:off x="6960097" y="1600612"/>
            <a:ext cx="4992553" cy="4663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10000"/>
              </a:spcBef>
              <a:spcAft>
                <a:spcPct val="10000"/>
              </a:spcAft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10000"/>
              </a:spcBef>
              <a:spcAft>
                <a:spcPct val="10000"/>
              </a:spcAft>
              <a:defRPr sz="24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10000"/>
              </a:spcBef>
              <a:spcAft>
                <a:spcPct val="10000"/>
              </a:spcAft>
              <a:defRPr sz="20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609585" indent="-609585">
              <a:buFont typeface="Arial" panose="020B0604020202020204" pitchFamily="34" charset="0"/>
              <a:buChar char="•"/>
            </a:pPr>
            <a:r>
              <a:rPr lang="en-GB" kern="0" dirty="0"/>
              <a:t>Sampling</a:t>
            </a:r>
          </a:p>
          <a:p>
            <a:pPr marL="833946" lvl="1" indent="-421207">
              <a:buFont typeface="Arial" panose="020B0604020202020204" pitchFamily="34" charset="0"/>
              <a:buChar char="•"/>
            </a:pPr>
            <a:r>
              <a:rPr lang="en-GB" kern="0" dirty="0"/>
              <a:t>1990 (11 years)</a:t>
            </a:r>
          </a:p>
          <a:p>
            <a:pPr marL="833946" lvl="1" indent="-421207">
              <a:buFont typeface="Arial" panose="020B0604020202020204" pitchFamily="34" charset="0"/>
              <a:buChar char="•"/>
            </a:pPr>
            <a:r>
              <a:rPr lang="en-GB" kern="0" dirty="0"/>
              <a:t>2013 (34 years)</a:t>
            </a:r>
          </a:p>
          <a:p>
            <a:pPr marL="609585" indent="-609585">
              <a:buFont typeface="Arial" panose="020B0604020202020204" pitchFamily="34" charset="0"/>
              <a:buChar char="•"/>
            </a:pPr>
            <a:r>
              <a:rPr lang="en-GB" kern="0" dirty="0"/>
              <a:t>Both studies</a:t>
            </a:r>
          </a:p>
          <a:p>
            <a:pPr marL="833946" lvl="1" indent="-421207">
              <a:buFont typeface="Arial" panose="020B0604020202020204" pitchFamily="34" charset="0"/>
              <a:buChar char="•"/>
            </a:pPr>
            <a:r>
              <a:rPr lang="en-GB" kern="0" dirty="0"/>
              <a:t>Compressive strength</a:t>
            </a:r>
          </a:p>
          <a:p>
            <a:pPr marL="833946" lvl="1" indent="-421207">
              <a:buFont typeface="Arial" panose="020B0604020202020204" pitchFamily="34" charset="0"/>
              <a:buChar char="•"/>
            </a:pPr>
            <a:r>
              <a:rPr lang="en-GB" kern="0" dirty="0"/>
              <a:t>Water content</a:t>
            </a:r>
          </a:p>
          <a:p>
            <a:pPr marL="609585" indent="-609585">
              <a:buFont typeface="Arial" panose="020B0604020202020204" pitchFamily="34" charset="0"/>
              <a:buChar char="•"/>
            </a:pPr>
            <a:r>
              <a:rPr lang="en-GB" kern="0" dirty="0"/>
              <a:t>2013 study</a:t>
            </a:r>
          </a:p>
          <a:p>
            <a:pPr marL="1009635" lvl="1" indent="-609585">
              <a:buFont typeface="Arial" panose="020B0604020202020204" pitchFamily="34" charset="0"/>
              <a:buChar char="•"/>
            </a:pPr>
            <a:r>
              <a:rPr lang="en-GB" kern="0" dirty="0"/>
              <a:t>Chemical analyses</a:t>
            </a:r>
          </a:p>
          <a:p>
            <a:endParaRPr lang="en-GB" sz="3200" kern="0" dirty="0"/>
          </a:p>
        </p:txBody>
      </p:sp>
      <p:sp>
        <p:nvSpPr>
          <p:cNvPr id="12" name="Rechteck 11"/>
          <p:cNvSpPr/>
          <p:nvPr/>
        </p:nvSpPr>
        <p:spPr>
          <a:xfrm>
            <a:off x="239349" y="5816878"/>
            <a:ext cx="66247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400" kern="0" dirty="0"/>
              <a:t>Drilling site 1990  &amp;  2013</a:t>
            </a:r>
          </a:p>
        </p:txBody>
      </p:sp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1316205F-28BC-0B16-7585-4010B97020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416480" y="6492873"/>
            <a:ext cx="1325245" cy="365125"/>
          </a:xfrm>
        </p:spPr>
        <p:txBody>
          <a:bodyPr/>
          <a:lstStyle/>
          <a:p>
            <a:r>
              <a:rPr lang="en-US" sz="1200" dirty="0"/>
              <a:t>Source : BVK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75116436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57EFDAF-B76D-A525-C30F-77E75322BC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57EFDAF-B76D-A525-C30F-77E75322BC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350" y="330793"/>
            <a:ext cx="10416480" cy="908050"/>
          </a:xfrm>
        </p:spPr>
        <p:txBody>
          <a:bodyPr vert="horz"/>
          <a:lstStyle/>
          <a:p>
            <a:r>
              <a:rPr lang="en-GB" noProof="0" dirty="0"/>
              <a:t>Embankment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E8E2E1-8AE1-471B-B84C-B6B84B62F2F2}" type="slidenum">
              <a:rPr lang="de-DE" smtClean="0"/>
              <a:pPr/>
              <a:t>32</a:t>
            </a:fld>
            <a:endParaRPr lang="de-DE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1007372"/>
            <a:ext cx="11617292" cy="2871836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9616" y="3906115"/>
            <a:ext cx="6912769" cy="2621092"/>
          </a:xfrm>
          <a:prstGeom prst="rect">
            <a:avLst/>
          </a:prstGeom>
        </p:spPr>
      </p:pic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68257A7E-D01D-D771-553F-686B723D0F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416480" y="6492873"/>
            <a:ext cx="1325245" cy="365125"/>
          </a:xfrm>
        </p:spPr>
        <p:txBody>
          <a:bodyPr/>
          <a:lstStyle/>
          <a:p>
            <a:r>
              <a:rPr lang="en-US" sz="1200" dirty="0"/>
              <a:t>Source : BVK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41637116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87E6815-799A-4F1E-A167-B0AB29EBD5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87E6815-799A-4F1E-A167-B0AB29EBD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62622" y="479256"/>
            <a:ext cx="10416480" cy="908050"/>
          </a:xfrm>
        </p:spPr>
        <p:txBody>
          <a:bodyPr vert="horz"/>
          <a:lstStyle/>
          <a:p>
            <a:r>
              <a:rPr lang="en-GB" dirty="0"/>
              <a:t>Sampling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E8E2E1-8AE1-471B-B84C-B6B84B62F2F2}" type="slidenum">
              <a:rPr lang="de-DE" smtClean="0"/>
              <a:pPr/>
              <a:t>33</a:t>
            </a:fld>
            <a:endParaRPr lang="de-DE"/>
          </a:p>
        </p:txBody>
      </p:sp>
      <p:pic>
        <p:nvPicPr>
          <p:cNvPr id="8" name="Picture 2" descr="C:\Daten\Eula\ATF - CE TF\Research\Bv mit Kalk_Langzeit\Bilder 2013\DSC09832.JPG"/>
          <p:cNvPicPr>
            <a:picLocks noGrp="1" noChangeAspect="1" noChangeArrowheads="1"/>
          </p:cNvPicPr>
          <p:nvPr>
            <p:ph sz="half"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1208" y="1257324"/>
            <a:ext cx="3473369" cy="5225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 descr="C:\Daten\Eula\ATF - CE TF\Research\Bv mit Kalk_Langzeit\Bilder 2013\Proben Dokumentation\Bilder verkleinert\Probe 1.jpg"/>
          <p:cNvPicPr>
            <a:picLocks noGrp="1" noChangeAspect="1" noChangeArrowheads="1"/>
          </p:cNvPicPr>
          <p:nvPr>
            <p:ph sz="half" idx="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5371" y="4331905"/>
            <a:ext cx="3232464" cy="2151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C:\Daten\Eula\ATF - CE TF\Research\Bv mit Kalk_Langzeit\Bilder 2013\Proben Dokumentation\Bilder verkleinert\Probe 3a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5371" y="1257324"/>
            <a:ext cx="4240335" cy="2822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3D5ED30F-F75B-9248-C804-23FD0238C0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416480" y="6492873"/>
            <a:ext cx="1325245" cy="365125"/>
          </a:xfrm>
        </p:spPr>
        <p:txBody>
          <a:bodyPr/>
          <a:lstStyle/>
          <a:p>
            <a:r>
              <a:rPr lang="en-US" sz="1200" dirty="0"/>
              <a:t>Source : BVK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99935190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C66B86B3-0539-5648-30FB-A34358CF9F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C66B86B3-0539-5648-30FB-A34358CF9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765260-8EED-7822-5517-FFA2C97FE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431" y="371213"/>
            <a:ext cx="10417569" cy="908050"/>
          </a:xfrm>
        </p:spPr>
        <p:txBody>
          <a:bodyPr vert="horz"/>
          <a:lstStyle/>
          <a:p>
            <a:r>
              <a:rPr lang="en-US" dirty="0"/>
              <a:t>Reactions : problem stat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CC41A7-0C7D-3C6A-34F3-1B22BFF589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0B728F-287A-A0B1-2319-9DD2F81A9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41A2F3-022E-9844-B3E5-5A080C0A0C75}" type="slidenum">
              <a:rPr lang="pl-PL" smtClean="0"/>
              <a:t>34</a:t>
            </a:fld>
            <a:endParaRPr lang="pl-PL"/>
          </a:p>
        </p:txBody>
      </p:sp>
      <p:sp>
        <p:nvSpPr>
          <p:cNvPr id="5" name="Pfeil nach rechts 14">
            <a:extLst>
              <a:ext uri="{FF2B5EF4-FFF2-40B4-BE49-F238E27FC236}">
                <a16:creationId xmlns:a16="http://schemas.microsoft.com/office/drawing/2014/main" id="{9ACE4830-F51D-9631-0095-4635FA81516D}"/>
              </a:ext>
            </a:extLst>
          </p:cNvPr>
          <p:cNvSpPr/>
          <p:nvPr/>
        </p:nvSpPr>
        <p:spPr>
          <a:xfrm rot="2700000">
            <a:off x="4450593" y="2343961"/>
            <a:ext cx="1319999" cy="658840"/>
          </a:xfrm>
          <a:prstGeom prst="rightArrow">
            <a:avLst/>
          </a:prstGeom>
          <a:solidFill>
            <a:srgbClr val="333399"/>
          </a:solidFill>
          <a:effectLst/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contourW="19050" prstMaterial="metal">
            <a:bevelT w="88900" h="203200"/>
            <a:bevelB w="165100" h="254000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133" dirty="0">
                <a:latin typeface="Calibri" panose="020F0502020204030204" pitchFamily="34" charset="0"/>
              </a:rPr>
              <a:t>Clay</a:t>
            </a:r>
          </a:p>
        </p:txBody>
      </p:sp>
      <p:sp>
        <p:nvSpPr>
          <p:cNvPr id="6" name="Pfeil nach rechts 15">
            <a:extLst>
              <a:ext uri="{FF2B5EF4-FFF2-40B4-BE49-F238E27FC236}">
                <a16:creationId xmlns:a16="http://schemas.microsoft.com/office/drawing/2014/main" id="{0A1B222D-4720-74AB-34F6-C92427A7E9C7}"/>
              </a:ext>
            </a:extLst>
          </p:cNvPr>
          <p:cNvSpPr/>
          <p:nvPr/>
        </p:nvSpPr>
        <p:spPr>
          <a:xfrm rot="-2700000">
            <a:off x="4450592" y="4145737"/>
            <a:ext cx="1319999" cy="658840"/>
          </a:xfrm>
          <a:prstGeom prst="rightArrow">
            <a:avLst/>
          </a:prstGeom>
          <a:solidFill>
            <a:srgbClr val="333399"/>
          </a:solidFill>
          <a:effectLst/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contourW="19050" prstMaterial="metal">
            <a:bevelT w="88900" h="203200"/>
            <a:bevelB w="165100" h="254000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133" dirty="0">
                <a:latin typeface="Calibri" panose="020F0502020204030204" pitchFamily="34" charset="0"/>
              </a:rPr>
              <a:t>CO</a:t>
            </a:r>
            <a:r>
              <a:rPr lang="de-DE" sz="2133" baseline="-25000" dirty="0">
                <a:latin typeface="Calibri" panose="020F0502020204030204" pitchFamily="34" charset="0"/>
              </a:rPr>
              <a:t>2</a:t>
            </a:r>
            <a:endParaRPr lang="de-DE" sz="2133" dirty="0">
              <a:latin typeface="Calibri" panose="020F0502020204030204" pitchFamily="34" charset="0"/>
            </a:endParaRPr>
          </a:p>
        </p:txBody>
      </p:sp>
      <p:cxnSp>
        <p:nvCxnSpPr>
          <p:cNvPr id="7" name="Gerade Verbindung 23">
            <a:extLst>
              <a:ext uri="{FF2B5EF4-FFF2-40B4-BE49-F238E27FC236}">
                <a16:creationId xmlns:a16="http://schemas.microsoft.com/office/drawing/2014/main" id="{D8FD87FA-BA91-926F-DCE9-BD88373F46BD}"/>
              </a:ext>
            </a:extLst>
          </p:cNvPr>
          <p:cNvCxnSpPr/>
          <p:nvPr/>
        </p:nvCxnSpPr>
        <p:spPr>
          <a:xfrm flipV="1">
            <a:off x="6235169" y="3126784"/>
            <a:ext cx="672075" cy="444229"/>
          </a:xfrm>
          <a:prstGeom prst="line">
            <a:avLst/>
          </a:prstGeom>
          <a:ln w="25400">
            <a:solidFill>
              <a:srgbClr val="33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24">
            <a:extLst>
              <a:ext uri="{FF2B5EF4-FFF2-40B4-BE49-F238E27FC236}">
                <a16:creationId xmlns:a16="http://schemas.microsoft.com/office/drawing/2014/main" id="{2F3CA324-A670-5A49-ED2B-780E190A3AB8}"/>
              </a:ext>
            </a:extLst>
          </p:cNvPr>
          <p:cNvCxnSpPr/>
          <p:nvPr/>
        </p:nvCxnSpPr>
        <p:spPr>
          <a:xfrm>
            <a:off x="6235169" y="3597227"/>
            <a:ext cx="672075" cy="466229"/>
          </a:xfrm>
          <a:prstGeom prst="line">
            <a:avLst/>
          </a:prstGeom>
          <a:ln w="25400">
            <a:solidFill>
              <a:srgbClr val="33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Inhaltsplatzhalter 6">
            <a:extLst>
              <a:ext uri="{FF2B5EF4-FFF2-40B4-BE49-F238E27FC236}">
                <a16:creationId xmlns:a16="http://schemas.microsoft.com/office/drawing/2014/main" id="{29F7E07D-A793-27A8-6B16-A9E9B79F6B9B}"/>
              </a:ext>
            </a:extLst>
          </p:cNvPr>
          <p:cNvGraphicFramePr>
            <a:graphicFrameLocks/>
          </p:cNvGraphicFramePr>
          <p:nvPr/>
        </p:nvGraphicFramePr>
        <p:xfrm>
          <a:off x="2682774" y="1901715"/>
          <a:ext cx="5664629" cy="33603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6" name="Textfeld 23">
            <a:extLst>
              <a:ext uri="{FF2B5EF4-FFF2-40B4-BE49-F238E27FC236}">
                <a16:creationId xmlns:a16="http://schemas.microsoft.com/office/drawing/2014/main" id="{65662C86-965C-E2A0-59F5-5FBD3B5DB4C0}"/>
              </a:ext>
            </a:extLst>
          </p:cNvPr>
          <p:cNvSpPr txBox="1"/>
          <p:nvPr/>
        </p:nvSpPr>
        <p:spPr>
          <a:xfrm>
            <a:off x="7691307" y="3340249"/>
            <a:ext cx="37621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rgbClr val="FF0000"/>
                </a:solidFill>
              </a:rPr>
              <a:t>Distribution</a:t>
            </a:r>
            <a:r>
              <a:rPr lang="de-DE" sz="2000" b="1" dirty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17" name="Textfeld 23">
            <a:extLst>
              <a:ext uri="{FF2B5EF4-FFF2-40B4-BE49-F238E27FC236}">
                <a16:creationId xmlns:a16="http://schemas.microsoft.com/office/drawing/2014/main" id="{803D1CA6-6BE1-DC55-95F4-F188F0EBE591}"/>
              </a:ext>
            </a:extLst>
          </p:cNvPr>
          <p:cNvSpPr txBox="1"/>
          <p:nvPr/>
        </p:nvSpPr>
        <p:spPr>
          <a:xfrm>
            <a:off x="5810217" y="2420598"/>
            <a:ext cx="3762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>
                <a:solidFill>
                  <a:schemeClr val="tx2"/>
                </a:solidFill>
              </a:rPr>
              <a:t>Puzzolanic</a:t>
            </a:r>
            <a:r>
              <a:rPr lang="en-US" b="1" dirty="0">
                <a:solidFill>
                  <a:schemeClr val="tx2"/>
                </a:solidFill>
              </a:rPr>
              <a:t> reactions</a:t>
            </a:r>
            <a:endParaRPr lang="de-DE" b="1" dirty="0">
              <a:solidFill>
                <a:schemeClr val="tx2"/>
              </a:solidFill>
            </a:endParaRPr>
          </a:p>
        </p:txBody>
      </p:sp>
      <p:sp>
        <p:nvSpPr>
          <p:cNvPr id="19" name="Textfeld 23">
            <a:extLst>
              <a:ext uri="{FF2B5EF4-FFF2-40B4-BE49-F238E27FC236}">
                <a16:creationId xmlns:a16="http://schemas.microsoft.com/office/drawing/2014/main" id="{6E942A5B-1F51-8DD8-3F6F-FC95D9CD4C09}"/>
              </a:ext>
            </a:extLst>
          </p:cNvPr>
          <p:cNvSpPr txBox="1"/>
          <p:nvPr/>
        </p:nvSpPr>
        <p:spPr>
          <a:xfrm>
            <a:off x="5810217" y="4333672"/>
            <a:ext cx="37621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Carbonation</a:t>
            </a:r>
            <a:endParaRPr lang="de-DE" b="1" dirty="0">
              <a:solidFill>
                <a:schemeClr val="tx2"/>
              </a:solidFill>
            </a:endParaRPr>
          </a:p>
        </p:txBody>
      </p:sp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D81B6142-C558-6F5F-862F-BD4D67913D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416480" y="6492873"/>
            <a:ext cx="1325245" cy="365125"/>
          </a:xfrm>
        </p:spPr>
        <p:txBody>
          <a:bodyPr/>
          <a:lstStyle/>
          <a:p>
            <a:r>
              <a:rPr lang="en-US" sz="1200" dirty="0"/>
              <a:t>Source : BVK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32327200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8541152-D4BD-ED2C-1EDB-3273703F0D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8541152-D4BD-ED2C-1EDB-3273703F0D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02768" y="495299"/>
            <a:ext cx="10417569" cy="908050"/>
          </a:xfrm>
        </p:spPr>
        <p:txBody>
          <a:bodyPr vert="horz"/>
          <a:lstStyle/>
          <a:p>
            <a:r>
              <a:rPr lang="en-GB" dirty="0"/>
              <a:t>Reaction quantification </a:t>
            </a:r>
            <a:r>
              <a:rPr lang="en-GB" b="0" dirty="0"/>
              <a:t>(mean values)</a:t>
            </a:r>
            <a:endParaRPr lang="de-DE" b="0" dirty="0"/>
          </a:p>
        </p:txBody>
      </p:sp>
      <p:graphicFrame>
        <p:nvGraphicFramePr>
          <p:cNvPr id="8" name="Inhaltsplatzhalter 8"/>
          <p:cNvGraphicFramePr>
            <a:graphicFrameLocks noGrp="1"/>
          </p:cNvGraphicFramePr>
          <p:nvPr>
            <p:ph idx="1"/>
          </p:nvPr>
        </p:nvGraphicFramePr>
        <p:xfrm>
          <a:off x="238125" y="1131886"/>
          <a:ext cx="11715749" cy="55435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E8E2E1-8AE1-471B-B84C-B6B84B62F2F2}" type="slidenum">
              <a:rPr lang="de-DE" smtClean="0"/>
              <a:pPr/>
              <a:t>35</a:t>
            </a:fld>
            <a:endParaRPr lang="de-DE"/>
          </a:p>
        </p:txBody>
      </p:sp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E35678ED-FFFC-E9B2-9994-F7B7564FF464}"/>
              </a:ext>
            </a:extLst>
          </p:cNvPr>
          <p:cNvSpPr txBox="1">
            <a:spLocks/>
          </p:cNvSpPr>
          <p:nvPr/>
        </p:nvSpPr>
        <p:spPr>
          <a:xfrm>
            <a:off x="10240017" y="6492872"/>
            <a:ext cx="13252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LID4096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ource : BV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797653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58CB7BD-8C95-2BCC-D192-D69D0EF196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ased on Best-Available-Techniqu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549214-E7FE-8438-133F-276471830B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Carbon footprint of quick lime – CL90Q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419C7D-AF43-FCB7-EB8A-49C67071EC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4551" y="6021152"/>
            <a:ext cx="5785963" cy="523220"/>
          </a:xfrm>
          <a:ln w="19050">
            <a:noFill/>
          </a:ln>
        </p:spPr>
        <p:txBody>
          <a:bodyPr>
            <a:norm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Source: Carmeuse estimate – based of PFR-kilns – CL90Q-high pur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467C34-90FD-B819-3956-A09E4652797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043BFC-7608-C7F1-9CA6-CB2256F04F3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220" t="36667" r="33591" b="11986"/>
          <a:stretch/>
        </p:blipFill>
        <p:spPr>
          <a:xfrm>
            <a:off x="814552" y="2133461"/>
            <a:ext cx="5785963" cy="3867426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51682BB-8C1D-1166-8B2E-44375E6ADCCD}"/>
              </a:ext>
            </a:extLst>
          </p:cNvPr>
          <p:cNvSpPr txBox="1">
            <a:spLocks/>
          </p:cNvSpPr>
          <p:nvPr/>
        </p:nvSpPr>
        <p:spPr>
          <a:xfrm>
            <a:off x="6800629" y="2133461"/>
            <a:ext cx="5223642" cy="3146296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>
            <a:normAutofit lnSpcReduction="1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23018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4619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68421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tx1"/>
                </a:solidFill>
              </a:rPr>
              <a:t>Life Cycle Inventory 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LCI </a:t>
            </a:r>
            <a:r>
              <a:rPr lang="en-US" baseline="-25000" dirty="0">
                <a:solidFill>
                  <a:schemeClr val="tx1"/>
                </a:solidFill>
              </a:rPr>
              <a:t>EuLA2015</a:t>
            </a:r>
            <a:r>
              <a:rPr lang="en-US" dirty="0">
                <a:solidFill>
                  <a:schemeClr val="tx1"/>
                </a:solidFill>
              </a:rPr>
              <a:t> = </a:t>
            </a:r>
            <a:r>
              <a:rPr lang="en-US" dirty="0">
                <a:solidFill>
                  <a:schemeClr val="accent5"/>
                </a:solidFill>
              </a:rPr>
              <a:t>1.170 kg/T</a:t>
            </a:r>
          </a:p>
          <a:p>
            <a:pPr marL="573088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Peer Review</a:t>
            </a:r>
          </a:p>
          <a:p>
            <a:pPr marL="573088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Downloadable @ GABI</a:t>
            </a:r>
          </a:p>
          <a:p>
            <a:pPr marL="573088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New LCI under construction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Carbonation ra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40% </a:t>
            </a:r>
            <a:r>
              <a:rPr lang="en-US" baseline="-25000" dirty="0" err="1">
                <a:solidFill>
                  <a:schemeClr val="tx1"/>
                </a:solidFill>
              </a:rPr>
              <a:t>EuLA</a:t>
            </a:r>
            <a:r>
              <a:rPr lang="en-US" baseline="-25000" dirty="0">
                <a:solidFill>
                  <a:schemeClr val="tx1"/>
                </a:solidFill>
              </a:rPr>
              <a:t> – </a:t>
            </a:r>
            <a:r>
              <a:rPr lang="en-US" baseline="-25000" dirty="0" err="1">
                <a:solidFill>
                  <a:schemeClr val="tx1"/>
                </a:solidFill>
              </a:rPr>
              <a:t>S.Haas</a:t>
            </a:r>
            <a:r>
              <a:rPr lang="en-US" baseline="-25000" dirty="0">
                <a:solidFill>
                  <a:schemeClr val="tx1"/>
                </a:solidFill>
              </a:rPr>
              <a:t> &amp; All</a:t>
            </a:r>
            <a:r>
              <a:rPr lang="en-US" dirty="0">
                <a:solidFill>
                  <a:schemeClr val="tx1"/>
                </a:solidFill>
              </a:rPr>
              <a:t> = </a:t>
            </a:r>
            <a:r>
              <a:rPr lang="en-US" dirty="0">
                <a:solidFill>
                  <a:schemeClr val="accent5"/>
                </a:solidFill>
              </a:rPr>
              <a:t>0.314 kg/T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pPr marL="573088" lvl="1" indent="-34290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1B8F3D80-5B99-09FA-10C2-E437AF3E202A}"/>
              </a:ext>
            </a:extLst>
          </p:cNvPr>
          <p:cNvSpPr txBox="1">
            <a:spLocks/>
          </p:cNvSpPr>
          <p:nvPr/>
        </p:nvSpPr>
        <p:spPr>
          <a:xfrm>
            <a:off x="6800629" y="5438998"/>
            <a:ext cx="5223642" cy="6089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23018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4619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68421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LCI </a:t>
            </a:r>
            <a:r>
              <a:rPr lang="en-US" baseline="-25000" dirty="0">
                <a:solidFill>
                  <a:schemeClr val="tx1"/>
                </a:solidFill>
              </a:rPr>
              <a:t>CL90-Q soil stab </a:t>
            </a:r>
            <a:r>
              <a:rPr lang="en-US" dirty="0">
                <a:solidFill>
                  <a:schemeClr val="tx1"/>
                </a:solidFill>
              </a:rPr>
              <a:t>= </a:t>
            </a:r>
            <a:r>
              <a:rPr lang="en-US" dirty="0">
                <a:solidFill>
                  <a:schemeClr val="accent5"/>
                </a:solidFill>
              </a:rPr>
              <a:t>0.856 kg/T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319393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B0A23A53-0DC4-B5E6-4FB5-787769C8E1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6441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1" imgH="472" progId="TCLayout.ActiveDocument.1">
                  <p:embed/>
                </p:oleObj>
              </mc:Choice>
              <mc:Fallback>
                <p:oleObj name="think-cell Slide" r:id="rId8" imgW="471" imgH="47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B0A23A53-0DC4-B5E6-4FB5-787769C8E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A0B34D-FEC6-7DFB-CF7E-7DFFCCD4B7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Initiatives on-going : </a:t>
            </a:r>
            <a:r>
              <a:rPr lang="en-US" dirty="0">
                <a:solidFill>
                  <a:schemeClr val="accent5"/>
                </a:solidFill>
              </a:rPr>
              <a:t>Net Zero Carbon </a:t>
            </a:r>
            <a:r>
              <a:rPr lang="en-US" dirty="0"/>
              <a:t>Industry by 2050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D6C69F-AF1E-DF09-568B-0CD93289F7A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2" name="Chart 51">
            <a:extLst>
              <a:ext uri="{FF2B5EF4-FFF2-40B4-BE49-F238E27FC236}">
                <a16:creationId xmlns:a16="http://schemas.microsoft.com/office/drawing/2014/main" id="{5488A6C6-5F91-B107-8895-1EC58B75F8C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0855381"/>
              </p:ext>
            </p:extLst>
          </p:nvPr>
        </p:nvGraphicFramePr>
        <p:xfrm>
          <a:off x="1479550" y="1985963"/>
          <a:ext cx="3190875" cy="3357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2697F16-C92C-2345-ADA5-C8C2EDB207E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833563" y="5375275"/>
            <a:ext cx="4635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2DC83B0-A0CD-486F-B53B-99180E63EE1D}" type="datetime'''''''''''''''''''''''''''''''''''''''''''''2''022'">
              <a:rPr lang="en-US" altLang="en-US" sz="1400" b="1" smtClean="0">
                <a:solidFill>
                  <a:schemeClr val="tx1"/>
                </a:solidFill>
              </a:rPr>
              <a:pPr/>
              <a:t>2022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AE7AAB-E4DC-0EB4-B5A1-1AF4CA0FB97C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843213" y="5375275"/>
            <a:ext cx="4635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CCC6ABA-1595-4D82-842C-B149B8F415A6}" type="datetime'''2''''''''''''0''''3''''''0'">
              <a:rPr lang="en-US" altLang="en-US" sz="1400" b="1" smtClean="0">
                <a:solidFill>
                  <a:schemeClr val="tx1"/>
                </a:solidFill>
              </a:rPr>
              <a:pPr/>
              <a:t>2030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27098A-6B5A-BBDF-AA4C-2173D835E9C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851275" y="5375275"/>
            <a:ext cx="4635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2F9042C-9873-48C2-A58D-725109D21087}" type="datetime'''''''''2''''''''0''5''''''''''''''''''0'''''''">
              <a:rPr lang="en-US" altLang="en-US" sz="1400" b="1" smtClean="0">
                <a:solidFill>
                  <a:schemeClr val="tx1"/>
                </a:solidFill>
              </a:rPr>
              <a:pPr/>
              <a:t>2050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A598B98-CF96-24F6-54B3-74589787A03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62000" y="3179763"/>
            <a:ext cx="8810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96248F2-A7DE-4484-A80E-F07EE371640F}" type="datetime'''''''C''O2''''/''''''''''''''''''T'' ''''''''l''''''i''m''e'">
              <a:rPr lang="en-US" altLang="en-US" sz="1400" smtClean="0">
                <a:solidFill>
                  <a:schemeClr val="tx1"/>
                </a:solidFill>
              </a:rPr>
              <a:pPr/>
              <a:t>CO2/T lime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3" name="Content Placeholder 3">
            <a:extLst>
              <a:ext uri="{FF2B5EF4-FFF2-40B4-BE49-F238E27FC236}">
                <a16:creationId xmlns:a16="http://schemas.microsoft.com/office/drawing/2014/main" id="{C1B4B0DF-B41B-CB7B-CD69-C601E7B994A6}"/>
              </a:ext>
            </a:extLst>
          </p:cNvPr>
          <p:cNvSpPr txBox="1">
            <a:spLocks/>
          </p:cNvSpPr>
          <p:nvPr/>
        </p:nvSpPr>
        <p:spPr>
          <a:xfrm>
            <a:off x="814551" y="6021152"/>
            <a:ext cx="5785963" cy="523220"/>
          </a:xfrm>
          <a:prstGeom prst="rect">
            <a:avLst/>
          </a:prstGeom>
          <a:ln w="19050">
            <a:noFill/>
          </a:ln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23018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4619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68421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tx1"/>
                </a:solidFill>
              </a:rPr>
              <a:t>Source: Carmeuse estimate – own assumption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4" name="Content Placeholder 3">
            <a:extLst>
              <a:ext uri="{FF2B5EF4-FFF2-40B4-BE49-F238E27FC236}">
                <a16:creationId xmlns:a16="http://schemas.microsoft.com/office/drawing/2014/main" id="{EF90A393-2E74-1BBD-F7B9-B4A057166632}"/>
              </a:ext>
            </a:extLst>
          </p:cNvPr>
          <p:cNvSpPr txBox="1">
            <a:spLocks/>
          </p:cNvSpPr>
          <p:nvPr/>
        </p:nvSpPr>
        <p:spPr>
          <a:xfrm>
            <a:off x="6003158" y="2672391"/>
            <a:ext cx="5223642" cy="2312607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23018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4619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68421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tx1"/>
                </a:solidFill>
              </a:rPr>
              <a:t>A lot of initiatives on-going on …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Carbon Capture </a:t>
            </a:r>
            <a:r>
              <a:rPr lang="en-US" dirty="0">
                <a:solidFill>
                  <a:schemeClr val="accent5"/>
                </a:solidFill>
              </a:rPr>
              <a:t>Utiliz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solidFill>
                <a:schemeClr val="accent5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Carbon Capture </a:t>
            </a:r>
            <a:r>
              <a:rPr lang="en-US" dirty="0">
                <a:solidFill>
                  <a:schemeClr val="accent5"/>
                </a:solidFill>
              </a:rPr>
              <a:t>Stora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48D1652-22ED-EC86-B8AC-52B2224BB18C}"/>
              </a:ext>
            </a:extLst>
          </p:cNvPr>
          <p:cNvSpPr txBox="1"/>
          <p:nvPr/>
        </p:nvSpPr>
        <p:spPr>
          <a:xfrm>
            <a:off x="8256608" y="5700531"/>
            <a:ext cx="169532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highlight>
                  <a:srgbClr val="FFFF00"/>
                </a:highlight>
                <a:ea typeface="Tahoma"/>
                <a:cs typeface="Tahoma"/>
              </a:rPr>
              <a:t>VIP meeting</a:t>
            </a:r>
            <a:endParaRPr lang="en-US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17617325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B12192-7268-1332-1039-6A4BD6AF6D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6211" y="2993923"/>
            <a:ext cx="10540590" cy="3216376"/>
          </a:xfrm>
        </p:spPr>
        <p:txBody>
          <a:bodyPr>
            <a:normAutofit/>
          </a:bodyPr>
          <a:lstStyle/>
          <a:p>
            <a:pPr algn="ctr"/>
            <a:r>
              <a:rPr lang="en-US" sz="6000" dirty="0">
                <a:solidFill>
                  <a:schemeClr val="accent1">
                    <a:lumMod val="75000"/>
                  </a:schemeClr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99821744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98068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330" y="938422"/>
            <a:ext cx="11150670" cy="59799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330" y="938422"/>
            <a:ext cx="11150670" cy="5979976"/>
          </a:xfrm>
          <a:prstGeom prst="rect">
            <a:avLst/>
          </a:prstGeom>
        </p:spPr>
      </p:pic>
      <p:sp>
        <p:nvSpPr>
          <p:cNvPr id="9" name="Text Placeholder 7"/>
          <p:cNvSpPr txBox="1">
            <a:spLocks/>
          </p:cNvSpPr>
          <p:nvPr/>
        </p:nvSpPr>
        <p:spPr>
          <a:xfrm>
            <a:off x="795464" y="5961269"/>
            <a:ext cx="2552770" cy="3416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800">
                <a:solidFill>
                  <a:schemeClr val="accent3"/>
                </a:solidFill>
                <a:latin typeface="DIN Offc" panose="020B0504020101020102" pitchFamily="34" charset="0"/>
              </a:rPr>
              <a:t>Carmeuse locations</a:t>
            </a:r>
          </a:p>
        </p:txBody>
      </p:sp>
      <p:sp>
        <p:nvSpPr>
          <p:cNvPr id="7" name="Rectangle 6"/>
          <p:cNvSpPr/>
          <p:nvPr/>
        </p:nvSpPr>
        <p:spPr>
          <a:xfrm>
            <a:off x="469882" y="6125383"/>
            <a:ext cx="174696" cy="61912"/>
          </a:xfrm>
          <a:prstGeom prst="rect">
            <a:avLst/>
          </a:prstGeom>
          <a:solidFill>
            <a:srgbClr val="1594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grpSp>
        <p:nvGrpSpPr>
          <p:cNvPr id="8" name="Group 7"/>
          <p:cNvGrpSpPr/>
          <p:nvPr/>
        </p:nvGrpSpPr>
        <p:grpSpPr>
          <a:xfrm>
            <a:off x="469882" y="6222880"/>
            <a:ext cx="2878352" cy="341632"/>
            <a:chOff x="1210112" y="6106766"/>
            <a:chExt cx="2878352" cy="341632"/>
          </a:xfrm>
        </p:grpSpPr>
        <p:sp>
          <p:nvSpPr>
            <p:cNvPr id="11" name="Text Placeholder 7"/>
            <p:cNvSpPr txBox="1">
              <a:spLocks/>
            </p:cNvSpPr>
            <p:nvPr/>
          </p:nvSpPr>
          <p:spPr>
            <a:xfrm>
              <a:off x="1535694" y="6106766"/>
              <a:ext cx="2552770" cy="341632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0"/>
                </a:spcBef>
                <a:buNone/>
              </a:pPr>
              <a:r>
                <a:rPr lang="en-US" sz="1800">
                  <a:solidFill>
                    <a:schemeClr val="accent3"/>
                  </a:solidFill>
                  <a:latin typeface="DIN Offc" panose="020B0504020101020102" pitchFamily="34" charset="0"/>
                </a:rPr>
                <a:t>Countries customers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210112" y="6231365"/>
              <a:ext cx="174696" cy="61912"/>
            </a:xfrm>
            <a:prstGeom prst="rect">
              <a:avLst/>
            </a:prstGeom>
            <a:solidFill>
              <a:srgbClr val="F686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FC696AC-6FF2-0A6A-0DEB-30ABAE92CC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6210" y="676811"/>
            <a:ext cx="10540590" cy="523220"/>
          </a:xfrm>
        </p:spPr>
        <p:txBody>
          <a:bodyPr/>
          <a:lstStyle/>
          <a:p>
            <a:r>
              <a:rPr lang="en-US"/>
              <a:t>WE ARE A GLOBAL LEADER</a:t>
            </a:r>
          </a:p>
        </p:txBody>
      </p:sp>
    </p:spTree>
    <p:extLst>
      <p:ext uri="{BB962C8B-B14F-4D97-AF65-F5344CB8AC3E}">
        <p14:creationId xmlns:p14="http://schemas.microsoft.com/office/powerpoint/2010/main" val="42068418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BF634C-E491-D5FF-0797-13B042C0BE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lIns="91440" tIns="45720" rIns="91440" bIns="45720" anchor="t" anchorCtr="0">
            <a:sp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latin typeface="+mj-lt"/>
              </a:rPr>
              <a:t>RECENT ACQUISITIONS</a:t>
            </a:r>
            <a:endParaRPr lang="en-US" b="1" dirty="0">
              <a:latin typeface="+mj-lt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1D5F90C-5E8B-6AE0-A33E-1C66ADCE3141}"/>
              </a:ext>
            </a:extLst>
          </p:cNvPr>
          <p:cNvSpPr/>
          <p:nvPr/>
        </p:nvSpPr>
        <p:spPr>
          <a:xfrm>
            <a:off x="2350467" y="1743052"/>
            <a:ext cx="1601906" cy="2042865"/>
          </a:xfrm>
          <a:prstGeom prst="roundRect">
            <a:avLst>
              <a:gd name="adj" fmla="val 882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txBody>
          <a:bodyPr wrap="square" tIns="36000" bIns="36000" anchor="ctr" anchorCtr="0">
            <a:noAutofit/>
          </a:bodyPr>
          <a:lstStyle/>
          <a:p>
            <a:pPr algn="ctr">
              <a:spcBef>
                <a:spcPct val="20000"/>
              </a:spcBef>
              <a:buClr>
                <a:srgbClr val="EE7F08"/>
              </a:buClr>
              <a:buSzPct val="130000"/>
            </a:pPr>
            <a:endParaRPr lang="en-BE" b="1" kern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6" name="Rectangle 51">
            <a:extLst>
              <a:ext uri="{FF2B5EF4-FFF2-40B4-BE49-F238E27FC236}">
                <a16:creationId xmlns:a16="http://schemas.microsoft.com/office/drawing/2014/main" id="{C7495B42-FBA6-40C2-A6C1-067D86A945E0}"/>
              </a:ext>
            </a:extLst>
          </p:cNvPr>
          <p:cNvSpPr/>
          <p:nvPr/>
        </p:nvSpPr>
        <p:spPr>
          <a:xfrm>
            <a:off x="2868294" y="2281745"/>
            <a:ext cx="542615" cy="19046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11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JUN</a:t>
            </a:r>
            <a:endParaRPr lang="fr-FR" sz="14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B035E29-8082-D60F-2BDA-75809F13A777}"/>
              </a:ext>
            </a:extLst>
          </p:cNvPr>
          <p:cNvSpPr/>
          <p:nvPr/>
        </p:nvSpPr>
        <p:spPr>
          <a:xfrm>
            <a:off x="2368817" y="2481636"/>
            <a:ext cx="156414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EE7F08"/>
              </a:buClr>
              <a:buSzPct val="130000"/>
            </a:pPr>
            <a:r>
              <a:rPr lang="fr-FR" sz="1200" b="1" kern="0" dirty="0">
                <a:solidFill>
                  <a:schemeClr val="accent3"/>
                </a:solidFill>
                <a:latin typeface="DIN Offc" panose="020B0504020101020102" pitchFamily="34" charset="0"/>
              </a:rPr>
              <a:t>STT</a:t>
            </a:r>
          </a:p>
          <a:p>
            <a:pPr algn="ctr">
              <a:buClr>
                <a:srgbClr val="EE7F08"/>
              </a:buClr>
              <a:buSzPct val="130000"/>
            </a:pPr>
            <a:r>
              <a:rPr lang="fr-FR" sz="1000" kern="0" dirty="0">
                <a:solidFill>
                  <a:schemeClr val="accent3"/>
                </a:solidFill>
                <a:latin typeface="DIN Offc" panose="020B0504020101020102" pitchFamily="34" charset="0"/>
              </a:rPr>
              <a:t>CANADA</a:t>
            </a:r>
          </a:p>
        </p:txBody>
      </p:sp>
      <p:sp>
        <p:nvSpPr>
          <p:cNvPr id="8" name="Rectangle 51">
            <a:extLst>
              <a:ext uri="{FF2B5EF4-FFF2-40B4-BE49-F238E27FC236}">
                <a16:creationId xmlns:a16="http://schemas.microsoft.com/office/drawing/2014/main" id="{4C40E44E-2A06-F6E1-0E0A-F56CF54CF553}"/>
              </a:ext>
            </a:extLst>
          </p:cNvPr>
          <p:cNvSpPr/>
          <p:nvPr/>
        </p:nvSpPr>
        <p:spPr>
          <a:xfrm>
            <a:off x="2868294" y="3062662"/>
            <a:ext cx="542615" cy="19046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11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DEC</a:t>
            </a:r>
            <a:endParaRPr lang="fr-FR" sz="14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CEC073F-8D14-32F9-D692-B2E903071A64}"/>
              </a:ext>
            </a:extLst>
          </p:cNvPr>
          <p:cNvSpPr/>
          <p:nvPr/>
        </p:nvSpPr>
        <p:spPr>
          <a:xfrm>
            <a:off x="2368818" y="3262553"/>
            <a:ext cx="157179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EE7F08"/>
              </a:buClr>
              <a:buSzPct val="130000"/>
            </a:pPr>
            <a:r>
              <a:rPr lang="fr-FR" sz="1200" b="1" kern="0" dirty="0">
                <a:solidFill>
                  <a:schemeClr val="accent3"/>
                </a:solidFill>
                <a:latin typeface="DIN Offc" panose="020B0504020101020102" pitchFamily="34" charset="0"/>
              </a:rPr>
              <a:t>OXIDOS</a:t>
            </a:r>
          </a:p>
          <a:p>
            <a:pPr algn="ctr">
              <a:buClr>
                <a:srgbClr val="EE7F08"/>
              </a:buClr>
              <a:buSzPct val="130000"/>
            </a:pPr>
            <a:r>
              <a:rPr lang="fr-FR" sz="1000" kern="0" dirty="0">
                <a:solidFill>
                  <a:schemeClr val="accent3"/>
                </a:solidFill>
                <a:latin typeface="DIN Offc" panose="020B0504020101020102" pitchFamily="34" charset="0"/>
              </a:rPr>
              <a:t>BRAZIL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7FEEB10-8A43-071E-8043-521EB0D0B5CC}"/>
              </a:ext>
            </a:extLst>
          </p:cNvPr>
          <p:cNvSpPr/>
          <p:nvPr/>
        </p:nvSpPr>
        <p:spPr>
          <a:xfrm>
            <a:off x="735112" y="1743052"/>
            <a:ext cx="1601906" cy="1259093"/>
          </a:xfrm>
          <a:prstGeom prst="roundRect">
            <a:avLst>
              <a:gd name="adj" fmla="val 882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txBody>
          <a:bodyPr wrap="square" tIns="36000" bIns="36000" anchor="ctr" anchorCtr="0">
            <a:noAutofit/>
          </a:bodyPr>
          <a:lstStyle/>
          <a:p>
            <a:pPr algn="ctr">
              <a:spcBef>
                <a:spcPct val="20000"/>
              </a:spcBef>
              <a:buClr>
                <a:srgbClr val="EE7F08"/>
              </a:buClr>
              <a:buSzPct val="130000"/>
            </a:pPr>
            <a:endParaRPr lang="en-BE" b="1" kern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11" name="Rectangle 51">
            <a:extLst>
              <a:ext uri="{FF2B5EF4-FFF2-40B4-BE49-F238E27FC236}">
                <a16:creationId xmlns:a16="http://schemas.microsoft.com/office/drawing/2014/main" id="{0A15F413-FC5D-35C9-90E6-30101B22779F}"/>
              </a:ext>
            </a:extLst>
          </p:cNvPr>
          <p:cNvSpPr/>
          <p:nvPr/>
        </p:nvSpPr>
        <p:spPr>
          <a:xfrm>
            <a:off x="1252938" y="2281745"/>
            <a:ext cx="542615" cy="190464"/>
          </a:xfrm>
          <a:prstGeom prst="rect">
            <a:avLst/>
          </a:prstGeom>
          <a:solidFill>
            <a:schemeClr val="tx1"/>
          </a:solidFill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11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SEP</a:t>
            </a:r>
            <a:endParaRPr lang="fr-FR" sz="14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F7E2904-B2EB-3920-0724-5C9E3610749B}"/>
              </a:ext>
            </a:extLst>
          </p:cNvPr>
          <p:cNvSpPr/>
          <p:nvPr/>
        </p:nvSpPr>
        <p:spPr>
          <a:xfrm>
            <a:off x="753463" y="2481636"/>
            <a:ext cx="1560356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EE7F08"/>
              </a:buClr>
              <a:buSzPct val="130000"/>
            </a:pPr>
            <a:r>
              <a:rPr lang="fr-FR" sz="1200" b="1" kern="0" dirty="0">
                <a:solidFill>
                  <a:schemeClr val="accent3"/>
                </a:solidFill>
                <a:latin typeface="DIN Offc" panose="020B0504020101020102" pitchFamily="34" charset="0"/>
              </a:rPr>
              <a:t>GOLDEN LIME</a:t>
            </a:r>
          </a:p>
          <a:p>
            <a:pPr algn="ctr">
              <a:buClr>
                <a:srgbClr val="EE7F08"/>
              </a:buClr>
              <a:buSzPct val="130000"/>
            </a:pPr>
            <a:r>
              <a:rPr lang="fr-FR" sz="1000" kern="0" dirty="0">
                <a:solidFill>
                  <a:schemeClr val="accent3"/>
                </a:solidFill>
                <a:latin typeface="DIN Offc" panose="020B0504020101020102" pitchFamily="34" charset="0"/>
              </a:rPr>
              <a:t>THAILAND</a:t>
            </a:r>
            <a:endParaRPr lang="fr-FR" sz="1200" b="1" kern="0" dirty="0">
              <a:solidFill>
                <a:schemeClr val="accent3"/>
              </a:solidFill>
              <a:latin typeface="DIN Offc" panose="020B0504020101020102" pitchFamily="34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FB92F74-30F3-F3C0-5A1E-23DF2AC8C66E}"/>
              </a:ext>
            </a:extLst>
          </p:cNvPr>
          <p:cNvSpPr/>
          <p:nvPr/>
        </p:nvSpPr>
        <p:spPr>
          <a:xfrm>
            <a:off x="3965822" y="1743052"/>
            <a:ext cx="1601906" cy="2764426"/>
          </a:xfrm>
          <a:prstGeom prst="roundRect">
            <a:avLst>
              <a:gd name="adj" fmla="val 882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txBody>
          <a:bodyPr wrap="square" tIns="36000" bIns="36000" anchor="ctr" anchorCtr="0">
            <a:noAutofit/>
          </a:bodyPr>
          <a:lstStyle/>
          <a:p>
            <a:pPr algn="ctr">
              <a:spcBef>
                <a:spcPct val="20000"/>
              </a:spcBef>
              <a:buClr>
                <a:srgbClr val="EE7F08"/>
              </a:buClr>
              <a:buSzPct val="130000"/>
            </a:pPr>
            <a:endParaRPr lang="en-BE" b="1" kern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14" name="Rectangle 51">
            <a:extLst>
              <a:ext uri="{FF2B5EF4-FFF2-40B4-BE49-F238E27FC236}">
                <a16:creationId xmlns:a16="http://schemas.microsoft.com/office/drawing/2014/main" id="{86BA3D64-0D14-0D53-A652-A54C8506D7BC}"/>
              </a:ext>
            </a:extLst>
          </p:cNvPr>
          <p:cNvSpPr/>
          <p:nvPr/>
        </p:nvSpPr>
        <p:spPr>
          <a:xfrm>
            <a:off x="4483649" y="2281745"/>
            <a:ext cx="542615" cy="190464"/>
          </a:xfrm>
          <a:prstGeom prst="rect">
            <a:avLst/>
          </a:prstGeom>
          <a:solidFill>
            <a:schemeClr val="tx1"/>
          </a:solidFill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11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MAR</a:t>
            </a:r>
            <a:endParaRPr lang="fr-FR" sz="14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15" name="Rectangle 51">
            <a:extLst>
              <a:ext uri="{FF2B5EF4-FFF2-40B4-BE49-F238E27FC236}">
                <a16:creationId xmlns:a16="http://schemas.microsoft.com/office/drawing/2014/main" id="{55C69262-B3F6-5238-9FAB-F3659921A4B5}"/>
              </a:ext>
            </a:extLst>
          </p:cNvPr>
          <p:cNvSpPr/>
          <p:nvPr/>
        </p:nvSpPr>
        <p:spPr>
          <a:xfrm>
            <a:off x="4483649" y="3062662"/>
            <a:ext cx="542615" cy="190464"/>
          </a:xfrm>
          <a:prstGeom prst="rect">
            <a:avLst/>
          </a:prstGeom>
          <a:solidFill>
            <a:schemeClr val="tx1"/>
          </a:solidFill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11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MAR</a:t>
            </a:r>
            <a:endParaRPr lang="fr-FR" sz="14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601DB0-08F0-03CE-D753-459D0C9D92FF}"/>
              </a:ext>
            </a:extLst>
          </p:cNvPr>
          <p:cNvSpPr/>
          <p:nvPr/>
        </p:nvSpPr>
        <p:spPr>
          <a:xfrm>
            <a:off x="3984172" y="3262553"/>
            <a:ext cx="156364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EE7F08"/>
              </a:buClr>
              <a:buSzPct val="130000"/>
            </a:pPr>
            <a:r>
              <a:rPr lang="fr-FR" sz="1200" b="1" kern="0" dirty="0">
                <a:solidFill>
                  <a:schemeClr val="accent3"/>
                </a:solidFill>
                <a:latin typeface="DIN Offc" panose="020B0504020101020102" pitchFamily="34" charset="0"/>
              </a:rPr>
              <a:t>HURON LIME</a:t>
            </a:r>
          </a:p>
          <a:p>
            <a:pPr lvl="0" algn="ctr">
              <a:buClr>
                <a:srgbClr val="EE7F08"/>
              </a:buClr>
              <a:buSzPct val="130000"/>
            </a:pPr>
            <a:r>
              <a:rPr lang="fr-FR" sz="1000" kern="0" dirty="0">
                <a:solidFill>
                  <a:schemeClr val="accent3"/>
                </a:solidFill>
                <a:latin typeface="DIN Offc" panose="020B0504020101020102" pitchFamily="34" charset="0"/>
              </a:rPr>
              <a:t>US</a:t>
            </a:r>
          </a:p>
        </p:txBody>
      </p:sp>
      <p:sp>
        <p:nvSpPr>
          <p:cNvPr id="17" name="Rectangle 51">
            <a:extLst>
              <a:ext uri="{FF2B5EF4-FFF2-40B4-BE49-F238E27FC236}">
                <a16:creationId xmlns:a16="http://schemas.microsoft.com/office/drawing/2014/main" id="{E229B285-C898-7570-9CA6-F072510BFE02}"/>
              </a:ext>
            </a:extLst>
          </p:cNvPr>
          <p:cNvSpPr/>
          <p:nvPr/>
        </p:nvSpPr>
        <p:spPr>
          <a:xfrm>
            <a:off x="4483649" y="3843579"/>
            <a:ext cx="542615" cy="190464"/>
          </a:xfrm>
          <a:prstGeom prst="rect">
            <a:avLst/>
          </a:prstGeom>
          <a:solidFill>
            <a:schemeClr val="tx1"/>
          </a:solidFill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11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MAY</a:t>
            </a:r>
            <a:endParaRPr lang="fr-FR" sz="14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2AFBB1D-E330-7382-8132-EE36FBC5BD59}"/>
              </a:ext>
            </a:extLst>
          </p:cNvPr>
          <p:cNvSpPr/>
          <p:nvPr/>
        </p:nvSpPr>
        <p:spPr>
          <a:xfrm>
            <a:off x="3984173" y="4043470"/>
            <a:ext cx="156364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EE7F08"/>
              </a:buClr>
              <a:buSzPct val="130000"/>
            </a:pPr>
            <a:r>
              <a:rPr lang="fr-FR" sz="1200" b="1" kern="0" dirty="0">
                <a:solidFill>
                  <a:schemeClr val="accent3"/>
                </a:solidFill>
                <a:latin typeface="DIN Offc" panose="020B0504020101020102" pitchFamily="34" charset="0"/>
              </a:rPr>
              <a:t>MINTEK</a:t>
            </a:r>
          </a:p>
          <a:p>
            <a:pPr lvl="0" algn="ctr">
              <a:buClr>
                <a:srgbClr val="EE7F08"/>
              </a:buClr>
              <a:buSzPct val="130000"/>
            </a:pPr>
            <a:r>
              <a:rPr lang="fr-FR" sz="1000" kern="0" dirty="0">
                <a:solidFill>
                  <a:schemeClr val="accent3"/>
                </a:solidFill>
                <a:latin typeface="DIN Offc" panose="020B0504020101020102" pitchFamily="34" charset="0"/>
              </a:rPr>
              <a:t>US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26620EB8-CC7F-A1E2-9ABE-928CACAF16E0}"/>
              </a:ext>
            </a:extLst>
          </p:cNvPr>
          <p:cNvSpPr/>
          <p:nvPr/>
        </p:nvSpPr>
        <p:spPr>
          <a:xfrm>
            <a:off x="5581178" y="1743052"/>
            <a:ext cx="1601906" cy="4516700"/>
          </a:xfrm>
          <a:prstGeom prst="roundRect">
            <a:avLst>
              <a:gd name="adj" fmla="val 882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txBody>
          <a:bodyPr wrap="square" tIns="36000" bIns="36000" anchor="ctr" anchorCtr="0">
            <a:noAutofit/>
          </a:bodyPr>
          <a:lstStyle/>
          <a:p>
            <a:pPr algn="ctr">
              <a:spcBef>
                <a:spcPct val="20000"/>
              </a:spcBef>
              <a:buClr>
                <a:srgbClr val="EE7F08"/>
              </a:buClr>
              <a:buSzPct val="130000"/>
            </a:pPr>
            <a:endParaRPr lang="en-BE" b="1" kern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20" name="Rectangle 51">
            <a:extLst>
              <a:ext uri="{FF2B5EF4-FFF2-40B4-BE49-F238E27FC236}">
                <a16:creationId xmlns:a16="http://schemas.microsoft.com/office/drawing/2014/main" id="{6398CD87-14A1-4FFE-35F1-EDF581B46254}"/>
              </a:ext>
            </a:extLst>
          </p:cNvPr>
          <p:cNvSpPr/>
          <p:nvPr/>
        </p:nvSpPr>
        <p:spPr>
          <a:xfrm>
            <a:off x="6099004" y="2281745"/>
            <a:ext cx="542615" cy="19046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11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FEB</a:t>
            </a:r>
            <a:endParaRPr lang="fr-FR" sz="14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FDD42EC-3922-67DD-5ACD-77C3E4AEF14E}"/>
              </a:ext>
            </a:extLst>
          </p:cNvPr>
          <p:cNvSpPr/>
          <p:nvPr/>
        </p:nvSpPr>
        <p:spPr>
          <a:xfrm>
            <a:off x="5599528" y="2481636"/>
            <a:ext cx="156035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EE7F08"/>
              </a:buClr>
              <a:buSzPct val="130000"/>
            </a:pPr>
            <a:r>
              <a:rPr lang="fr-FR" sz="1200" b="1" kern="0" dirty="0">
                <a:solidFill>
                  <a:schemeClr val="accent3"/>
                </a:solidFill>
                <a:latin typeface="DIN Offc" panose="020B0504020101020102" pitchFamily="34" charset="0"/>
              </a:rPr>
              <a:t>YAGER</a:t>
            </a:r>
          </a:p>
          <a:p>
            <a:pPr algn="ctr">
              <a:buClr>
                <a:srgbClr val="EE7F08"/>
              </a:buClr>
              <a:buSzPct val="130000"/>
            </a:pPr>
            <a:r>
              <a:rPr lang="fr-FR" sz="1000" kern="0" dirty="0">
                <a:solidFill>
                  <a:schemeClr val="accent3"/>
                </a:solidFill>
                <a:latin typeface="DIN Offc" panose="020B0504020101020102" pitchFamily="34" charset="0"/>
              </a:rPr>
              <a:t>US</a:t>
            </a:r>
          </a:p>
        </p:txBody>
      </p:sp>
      <p:sp>
        <p:nvSpPr>
          <p:cNvPr id="22" name="Rectangle 51">
            <a:extLst>
              <a:ext uri="{FF2B5EF4-FFF2-40B4-BE49-F238E27FC236}">
                <a16:creationId xmlns:a16="http://schemas.microsoft.com/office/drawing/2014/main" id="{B0F902BC-AFEB-AF91-527F-A35CEC8D5016}"/>
              </a:ext>
            </a:extLst>
          </p:cNvPr>
          <p:cNvSpPr/>
          <p:nvPr/>
        </p:nvSpPr>
        <p:spPr>
          <a:xfrm>
            <a:off x="6099004" y="3062662"/>
            <a:ext cx="542615" cy="19046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11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MAR</a:t>
            </a:r>
            <a:endParaRPr lang="fr-FR" sz="14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370DBFF-14E6-A62F-A97C-1DF0DA849063}"/>
              </a:ext>
            </a:extLst>
          </p:cNvPr>
          <p:cNvSpPr/>
          <p:nvPr/>
        </p:nvSpPr>
        <p:spPr>
          <a:xfrm>
            <a:off x="5599528" y="3262553"/>
            <a:ext cx="156035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EE7F08"/>
              </a:buClr>
              <a:buSzPct val="130000"/>
            </a:pPr>
            <a:r>
              <a:rPr lang="fr-FR" sz="1200" b="1" kern="0" dirty="0">
                <a:solidFill>
                  <a:schemeClr val="accent3"/>
                </a:solidFill>
                <a:latin typeface="DIN Offc" panose="020B0504020101020102" pitchFamily="34" charset="0"/>
              </a:rPr>
              <a:t>CAL ARCO IRIS</a:t>
            </a:r>
          </a:p>
          <a:p>
            <a:pPr algn="ctr">
              <a:buClr>
                <a:srgbClr val="EE7F08"/>
              </a:buClr>
              <a:buSzPct val="130000"/>
            </a:pPr>
            <a:r>
              <a:rPr lang="fr-FR" sz="1000" kern="0" dirty="0">
                <a:solidFill>
                  <a:schemeClr val="accent3"/>
                </a:solidFill>
                <a:latin typeface="DIN Offc" panose="020B0504020101020102" pitchFamily="34" charset="0"/>
              </a:rPr>
              <a:t>BRAZIL</a:t>
            </a:r>
          </a:p>
        </p:txBody>
      </p:sp>
      <p:sp>
        <p:nvSpPr>
          <p:cNvPr id="24" name="Rectangle 51">
            <a:extLst>
              <a:ext uri="{FF2B5EF4-FFF2-40B4-BE49-F238E27FC236}">
                <a16:creationId xmlns:a16="http://schemas.microsoft.com/office/drawing/2014/main" id="{FFD7F578-E9BD-D6C0-9D13-C2860FC15F86}"/>
              </a:ext>
            </a:extLst>
          </p:cNvPr>
          <p:cNvSpPr/>
          <p:nvPr/>
        </p:nvSpPr>
        <p:spPr>
          <a:xfrm>
            <a:off x="6099004" y="3843579"/>
            <a:ext cx="542615" cy="19046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11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MAR</a:t>
            </a:r>
            <a:endParaRPr lang="fr-FR" sz="14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A467F23-8C99-3275-B931-4766E27F529D}"/>
              </a:ext>
            </a:extLst>
          </p:cNvPr>
          <p:cNvSpPr/>
          <p:nvPr/>
        </p:nvSpPr>
        <p:spPr>
          <a:xfrm>
            <a:off x="5599528" y="4043470"/>
            <a:ext cx="1560356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EE7F08"/>
              </a:buClr>
              <a:buSzPct val="130000"/>
            </a:pPr>
            <a:r>
              <a:rPr lang="fr-FR" sz="1200" b="1" kern="0" dirty="0">
                <a:solidFill>
                  <a:schemeClr val="accent3"/>
                </a:solidFill>
                <a:latin typeface="DIN Offc" panose="020B0504020101020102" pitchFamily="34" charset="0"/>
              </a:rPr>
              <a:t>UNICALCE</a:t>
            </a:r>
          </a:p>
          <a:p>
            <a:pPr lvl="0" algn="ctr">
              <a:buClr>
                <a:srgbClr val="EE7F08"/>
              </a:buClr>
              <a:buSzPct val="130000"/>
            </a:pPr>
            <a:r>
              <a:rPr lang="fr-FR" sz="1050" kern="0" dirty="0">
                <a:solidFill>
                  <a:schemeClr val="accent3"/>
                </a:solidFill>
                <a:latin typeface="DIN Offc" panose="020B0504020101020102" pitchFamily="34" charset="0"/>
              </a:rPr>
              <a:t>(</a:t>
            </a:r>
            <a:r>
              <a:rPr lang="en-US" sz="1050" kern="0" dirty="0">
                <a:solidFill>
                  <a:schemeClr val="accent3"/>
                </a:solidFill>
                <a:latin typeface="DIN Offc" panose="020B0504020101020102" pitchFamily="34" charset="0"/>
              </a:rPr>
              <a:t>additional shares)</a:t>
            </a:r>
          </a:p>
          <a:p>
            <a:pPr algn="ctr">
              <a:buClr>
                <a:srgbClr val="EE7F08"/>
              </a:buClr>
              <a:buSzPct val="130000"/>
            </a:pPr>
            <a:r>
              <a:rPr lang="en-US" sz="1000" kern="0" dirty="0">
                <a:solidFill>
                  <a:schemeClr val="accent3"/>
                </a:solidFill>
                <a:latin typeface="DIN Offc" panose="020B0504020101020102" pitchFamily="34" charset="0"/>
              </a:rPr>
              <a:t>ITALY</a:t>
            </a:r>
          </a:p>
        </p:txBody>
      </p:sp>
      <p:sp>
        <p:nvSpPr>
          <p:cNvPr id="26" name="Rectangle 51">
            <a:extLst>
              <a:ext uri="{FF2B5EF4-FFF2-40B4-BE49-F238E27FC236}">
                <a16:creationId xmlns:a16="http://schemas.microsoft.com/office/drawing/2014/main" id="{A3E0C672-3BF2-5B18-7466-7492EFE78EC5}"/>
              </a:ext>
            </a:extLst>
          </p:cNvPr>
          <p:cNvSpPr/>
          <p:nvPr/>
        </p:nvSpPr>
        <p:spPr>
          <a:xfrm>
            <a:off x="6099004" y="4794062"/>
            <a:ext cx="542615" cy="19046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11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APR</a:t>
            </a:r>
            <a:endParaRPr lang="fr-FR" sz="14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E4E21EF-D282-3170-F74E-B2C240E35CEC}"/>
              </a:ext>
            </a:extLst>
          </p:cNvPr>
          <p:cNvSpPr/>
          <p:nvPr/>
        </p:nvSpPr>
        <p:spPr>
          <a:xfrm>
            <a:off x="5599528" y="4993953"/>
            <a:ext cx="156035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EE7F08"/>
              </a:buClr>
              <a:buSzPct val="130000"/>
            </a:pPr>
            <a:r>
              <a:rPr lang="fr-FR" sz="1200" b="1" kern="0" dirty="0">
                <a:solidFill>
                  <a:schemeClr val="accent3"/>
                </a:solidFill>
                <a:latin typeface="DIN Offc" panose="020B0504020101020102" pitchFamily="34" charset="0"/>
              </a:rPr>
              <a:t>CHEMLIME</a:t>
            </a:r>
          </a:p>
          <a:p>
            <a:pPr algn="ctr">
              <a:buClr>
                <a:srgbClr val="EE7F08"/>
              </a:buClr>
              <a:buSzPct val="130000"/>
            </a:pPr>
            <a:r>
              <a:rPr lang="fr-FR" sz="1000" kern="0" dirty="0">
                <a:solidFill>
                  <a:schemeClr val="accent3"/>
                </a:solidFill>
                <a:latin typeface="DIN Offc" panose="020B0504020101020102" pitchFamily="34" charset="0"/>
              </a:rPr>
              <a:t>US</a:t>
            </a:r>
          </a:p>
        </p:txBody>
      </p:sp>
      <p:sp>
        <p:nvSpPr>
          <p:cNvPr id="28" name="Rectangle 51">
            <a:extLst>
              <a:ext uri="{FF2B5EF4-FFF2-40B4-BE49-F238E27FC236}">
                <a16:creationId xmlns:a16="http://schemas.microsoft.com/office/drawing/2014/main" id="{3C819E7D-F5C8-5A2E-1D8C-CA464B8AC851}"/>
              </a:ext>
            </a:extLst>
          </p:cNvPr>
          <p:cNvSpPr/>
          <p:nvPr/>
        </p:nvSpPr>
        <p:spPr>
          <a:xfrm>
            <a:off x="6099004" y="5574977"/>
            <a:ext cx="542615" cy="19046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11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JUN</a:t>
            </a:r>
            <a:endParaRPr lang="fr-FR" sz="14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EAC8293-64B9-1511-583C-193A30B50EE8}"/>
              </a:ext>
            </a:extLst>
          </p:cNvPr>
          <p:cNvSpPr/>
          <p:nvPr/>
        </p:nvSpPr>
        <p:spPr>
          <a:xfrm>
            <a:off x="5599528" y="5774868"/>
            <a:ext cx="156035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EE7F08"/>
              </a:buClr>
              <a:buSzPct val="130000"/>
            </a:pPr>
            <a:r>
              <a:rPr lang="fr-FR" sz="1200" b="1" kern="0" dirty="0">
                <a:solidFill>
                  <a:schemeClr val="accent3"/>
                </a:solidFill>
                <a:latin typeface="DIN Offc" panose="020B0504020101020102" pitchFamily="34" charset="0"/>
              </a:rPr>
              <a:t>AGROFORCE</a:t>
            </a:r>
          </a:p>
          <a:p>
            <a:pPr algn="ctr">
              <a:buClr>
                <a:srgbClr val="EE7F08"/>
              </a:buClr>
              <a:buSzPct val="130000"/>
            </a:pPr>
            <a:r>
              <a:rPr lang="fr-FR" sz="1000" kern="0" dirty="0">
                <a:solidFill>
                  <a:schemeClr val="accent3"/>
                </a:solidFill>
                <a:latin typeface="DIN Offc" panose="020B0504020101020102" pitchFamily="34" charset="0"/>
              </a:rPr>
              <a:t>HUNGARY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1DE5DDF-DAD3-4EBF-EC85-B209247C03A0}"/>
              </a:ext>
            </a:extLst>
          </p:cNvPr>
          <p:cNvSpPr/>
          <p:nvPr/>
        </p:nvSpPr>
        <p:spPr>
          <a:xfrm>
            <a:off x="7196533" y="1743051"/>
            <a:ext cx="1601906" cy="2961691"/>
          </a:xfrm>
          <a:prstGeom prst="roundRect">
            <a:avLst>
              <a:gd name="adj" fmla="val 882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txBody>
          <a:bodyPr wrap="square" tIns="36000" bIns="36000" anchor="ctr" anchorCtr="0">
            <a:noAutofit/>
          </a:bodyPr>
          <a:lstStyle/>
          <a:p>
            <a:pPr algn="ctr">
              <a:spcBef>
                <a:spcPct val="20000"/>
              </a:spcBef>
              <a:buClr>
                <a:srgbClr val="EE7F08"/>
              </a:buClr>
              <a:buSzPct val="130000"/>
            </a:pPr>
            <a:endParaRPr lang="en-BE" b="1" kern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31" name="Rectangle 51">
            <a:extLst>
              <a:ext uri="{FF2B5EF4-FFF2-40B4-BE49-F238E27FC236}">
                <a16:creationId xmlns:a16="http://schemas.microsoft.com/office/drawing/2014/main" id="{15AA9D03-CE10-C39D-8477-A911C3EB2A9B}"/>
              </a:ext>
            </a:extLst>
          </p:cNvPr>
          <p:cNvSpPr/>
          <p:nvPr/>
        </p:nvSpPr>
        <p:spPr>
          <a:xfrm>
            <a:off x="7714359" y="2281745"/>
            <a:ext cx="542615" cy="190464"/>
          </a:xfrm>
          <a:prstGeom prst="rect">
            <a:avLst/>
          </a:prstGeom>
          <a:solidFill>
            <a:schemeClr val="tx1"/>
          </a:solidFill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11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FEB</a:t>
            </a:r>
            <a:endParaRPr lang="fr-FR" sz="14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90B928B-523F-846A-998E-19DEE18E8FA5}"/>
              </a:ext>
            </a:extLst>
          </p:cNvPr>
          <p:cNvSpPr/>
          <p:nvPr/>
        </p:nvSpPr>
        <p:spPr>
          <a:xfrm>
            <a:off x="7214883" y="2481636"/>
            <a:ext cx="1560356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EE7F08"/>
              </a:buClr>
              <a:buSzPct val="130000"/>
            </a:pPr>
            <a:r>
              <a:rPr lang="fr-FR" sz="1200" b="1" kern="0" dirty="0">
                <a:solidFill>
                  <a:schemeClr val="accent3"/>
                </a:solidFill>
                <a:latin typeface="DIN Offc" panose="020B0504020101020102" pitchFamily="34" charset="0"/>
              </a:rPr>
              <a:t>OHIO RIVER AGGREGATES</a:t>
            </a:r>
          </a:p>
          <a:p>
            <a:pPr lvl="0" algn="ctr">
              <a:buClr>
                <a:srgbClr val="EE7F08"/>
              </a:buClr>
              <a:buSzPct val="130000"/>
            </a:pPr>
            <a:r>
              <a:rPr lang="fr-FR" sz="1000" kern="0" dirty="0">
                <a:solidFill>
                  <a:schemeClr val="accent3"/>
                </a:solidFill>
                <a:latin typeface="DIN Offc" panose="020B0504020101020102" pitchFamily="34" charset="0"/>
              </a:rPr>
              <a:t>US</a:t>
            </a:r>
            <a:endParaRPr lang="fr-FR" sz="1200" b="1" kern="0" dirty="0">
              <a:solidFill>
                <a:schemeClr val="accent3"/>
              </a:solidFill>
              <a:latin typeface="DIN Offc" panose="020B0504020101020102" pitchFamily="34" charset="0"/>
            </a:endParaRPr>
          </a:p>
        </p:txBody>
      </p:sp>
      <p:sp>
        <p:nvSpPr>
          <p:cNvPr id="33" name="Rectangle 51">
            <a:extLst>
              <a:ext uri="{FF2B5EF4-FFF2-40B4-BE49-F238E27FC236}">
                <a16:creationId xmlns:a16="http://schemas.microsoft.com/office/drawing/2014/main" id="{CBEE7191-5743-C208-41B3-7F20F25EC027}"/>
              </a:ext>
            </a:extLst>
          </p:cNvPr>
          <p:cNvSpPr/>
          <p:nvPr/>
        </p:nvSpPr>
        <p:spPr>
          <a:xfrm>
            <a:off x="7714359" y="3253162"/>
            <a:ext cx="542615" cy="190464"/>
          </a:xfrm>
          <a:prstGeom prst="rect">
            <a:avLst/>
          </a:prstGeom>
          <a:solidFill>
            <a:schemeClr val="tx1"/>
          </a:solidFill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11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FEB</a:t>
            </a:r>
            <a:endParaRPr lang="fr-FR" sz="14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6958698-9E63-08A3-75D4-CE2B699673C9}"/>
              </a:ext>
            </a:extLst>
          </p:cNvPr>
          <p:cNvSpPr/>
          <p:nvPr/>
        </p:nvSpPr>
        <p:spPr>
          <a:xfrm>
            <a:off x="7214883" y="3453053"/>
            <a:ext cx="156035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EE7F08"/>
              </a:buClr>
              <a:buSzPct val="130000"/>
            </a:pPr>
            <a:r>
              <a:rPr lang="fr-FR" sz="1200" b="1" kern="0" dirty="0">
                <a:solidFill>
                  <a:schemeClr val="accent3"/>
                </a:solidFill>
                <a:latin typeface="DIN Offc" panose="020B0504020101020102" pitchFamily="34" charset="0"/>
              </a:rPr>
              <a:t>TENERA</a:t>
            </a:r>
          </a:p>
          <a:p>
            <a:pPr lvl="0" algn="ctr">
              <a:buClr>
                <a:srgbClr val="EE7F08"/>
              </a:buClr>
              <a:buSzPct val="130000"/>
            </a:pPr>
            <a:r>
              <a:rPr lang="fr-FR" sz="1000" kern="0" dirty="0">
                <a:solidFill>
                  <a:schemeClr val="accent3"/>
                </a:solidFill>
                <a:latin typeface="DIN Offc" panose="020B0504020101020102" pitchFamily="34" charset="0"/>
              </a:rPr>
              <a:t>HQ</a:t>
            </a:r>
            <a:endParaRPr lang="fr-FR" sz="1200" b="1" kern="0" dirty="0">
              <a:solidFill>
                <a:schemeClr val="accent3"/>
              </a:solidFill>
              <a:latin typeface="DIN Offc" panose="020B0504020101020102" pitchFamily="34" charset="0"/>
            </a:endParaRPr>
          </a:p>
        </p:txBody>
      </p:sp>
      <p:sp>
        <p:nvSpPr>
          <p:cNvPr id="35" name="Rectangle 51">
            <a:extLst>
              <a:ext uri="{FF2B5EF4-FFF2-40B4-BE49-F238E27FC236}">
                <a16:creationId xmlns:a16="http://schemas.microsoft.com/office/drawing/2014/main" id="{964D991A-4EBD-CDFA-F57A-E7DFB1D825AB}"/>
              </a:ext>
            </a:extLst>
          </p:cNvPr>
          <p:cNvSpPr/>
          <p:nvPr/>
        </p:nvSpPr>
        <p:spPr>
          <a:xfrm>
            <a:off x="7714359" y="4034079"/>
            <a:ext cx="542615" cy="190464"/>
          </a:xfrm>
          <a:prstGeom prst="rect">
            <a:avLst/>
          </a:prstGeom>
          <a:solidFill>
            <a:schemeClr val="tx1"/>
          </a:solidFill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11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APR</a:t>
            </a:r>
            <a:endParaRPr lang="fr-FR" sz="14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4D2E066-250E-6386-26A8-05CC49AB8F77}"/>
              </a:ext>
            </a:extLst>
          </p:cNvPr>
          <p:cNvSpPr/>
          <p:nvPr/>
        </p:nvSpPr>
        <p:spPr>
          <a:xfrm>
            <a:off x="7214883" y="4233970"/>
            <a:ext cx="156035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EE7F08"/>
              </a:buClr>
              <a:buSzPct val="130000"/>
            </a:pPr>
            <a:r>
              <a:rPr lang="fr-FR" sz="1200" b="1" kern="0" dirty="0">
                <a:solidFill>
                  <a:schemeClr val="accent3"/>
                </a:solidFill>
                <a:latin typeface="DIN Offc" panose="020B0504020101020102" pitchFamily="34" charset="0"/>
              </a:rPr>
              <a:t>THAI MARBLE</a:t>
            </a:r>
          </a:p>
          <a:p>
            <a:pPr lvl="0" algn="ctr">
              <a:buClr>
                <a:srgbClr val="EE7F08"/>
              </a:buClr>
              <a:buSzPct val="130000"/>
            </a:pPr>
            <a:r>
              <a:rPr lang="fr-FR" sz="1000" kern="0" dirty="0">
                <a:solidFill>
                  <a:schemeClr val="accent3"/>
                </a:solidFill>
                <a:latin typeface="DIN Offc" panose="020B0504020101020102" pitchFamily="34" charset="0"/>
              </a:rPr>
              <a:t>CMEA</a:t>
            </a:r>
            <a:endParaRPr lang="fr-FR" sz="1200" b="1" kern="0" dirty="0">
              <a:solidFill>
                <a:schemeClr val="accent3"/>
              </a:solidFill>
              <a:latin typeface="DIN Offc" panose="020B0504020101020102" pitchFamily="34" charset="0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7271AA3E-D1D2-150C-73CA-129447837748}"/>
              </a:ext>
            </a:extLst>
          </p:cNvPr>
          <p:cNvSpPr/>
          <p:nvPr/>
        </p:nvSpPr>
        <p:spPr>
          <a:xfrm>
            <a:off x="8811888" y="1743052"/>
            <a:ext cx="1601906" cy="3750142"/>
          </a:xfrm>
          <a:prstGeom prst="roundRect">
            <a:avLst>
              <a:gd name="adj" fmla="val 882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txBody>
          <a:bodyPr wrap="square" tIns="36000" bIns="36000" anchor="ctr" anchorCtr="0">
            <a:noAutofit/>
          </a:bodyPr>
          <a:lstStyle/>
          <a:p>
            <a:pPr algn="ctr">
              <a:spcBef>
                <a:spcPct val="20000"/>
              </a:spcBef>
              <a:buClr>
                <a:srgbClr val="EE7F08"/>
              </a:buClr>
              <a:buSzPct val="130000"/>
            </a:pPr>
            <a:endParaRPr lang="en-BE" b="1" kern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D94B7D8-B1A0-DACE-6082-7D7913A6F2B7}"/>
              </a:ext>
            </a:extLst>
          </p:cNvPr>
          <p:cNvSpPr/>
          <p:nvPr/>
        </p:nvSpPr>
        <p:spPr>
          <a:xfrm>
            <a:off x="8830239" y="2481636"/>
            <a:ext cx="156035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EE7F08"/>
              </a:buClr>
              <a:buSzPct val="130000"/>
            </a:pPr>
            <a:r>
              <a:rPr lang="fr-FR" sz="1200" b="1" kern="0" dirty="0">
                <a:solidFill>
                  <a:schemeClr val="accent3"/>
                </a:solidFill>
                <a:latin typeface="DIN Offc" panose="020B0504020101020102" pitchFamily="34" charset="0"/>
              </a:rPr>
              <a:t>SOCHA</a:t>
            </a:r>
          </a:p>
          <a:p>
            <a:pPr lvl="0" algn="ctr">
              <a:buClr>
                <a:srgbClr val="EE7F08"/>
              </a:buClr>
              <a:buSzPct val="130000"/>
            </a:pPr>
            <a:r>
              <a:rPr lang="fr-FR" sz="1000" kern="0" dirty="0">
                <a:solidFill>
                  <a:schemeClr val="accent3"/>
                </a:solidFill>
                <a:latin typeface="DIN Offc" panose="020B0504020101020102" pitchFamily="34" charset="0"/>
              </a:rPr>
              <a:t>TUNISIA</a:t>
            </a:r>
            <a:endParaRPr lang="fr-FR" sz="1200" b="1" kern="0" dirty="0">
              <a:solidFill>
                <a:schemeClr val="accent3"/>
              </a:solidFill>
              <a:latin typeface="DIN Offc" panose="020B0504020101020102" pitchFamily="34" charset="0"/>
            </a:endParaRPr>
          </a:p>
        </p:txBody>
      </p:sp>
      <p:sp>
        <p:nvSpPr>
          <p:cNvPr id="39" name="Rectangle 51">
            <a:extLst>
              <a:ext uri="{FF2B5EF4-FFF2-40B4-BE49-F238E27FC236}">
                <a16:creationId xmlns:a16="http://schemas.microsoft.com/office/drawing/2014/main" id="{D20F6CA2-72B4-8430-5091-6180353E930D}"/>
              </a:ext>
            </a:extLst>
          </p:cNvPr>
          <p:cNvSpPr/>
          <p:nvPr/>
        </p:nvSpPr>
        <p:spPr>
          <a:xfrm>
            <a:off x="9329714" y="3062662"/>
            <a:ext cx="542615" cy="19046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11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AUG</a:t>
            </a:r>
            <a:endParaRPr lang="fr-FR" sz="14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2315433-7B6E-0089-8C00-D0F07335312C}"/>
              </a:ext>
            </a:extLst>
          </p:cNvPr>
          <p:cNvSpPr/>
          <p:nvPr/>
        </p:nvSpPr>
        <p:spPr>
          <a:xfrm>
            <a:off x="8830239" y="3262553"/>
            <a:ext cx="156035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EE7F08"/>
              </a:buClr>
              <a:buSzPct val="130000"/>
            </a:pPr>
            <a:r>
              <a:rPr lang="fr-FR" sz="1200" b="1" kern="0" dirty="0">
                <a:solidFill>
                  <a:schemeClr val="accent3"/>
                </a:solidFill>
                <a:latin typeface="DIN Offc" panose="020B0504020101020102" pitchFamily="34" charset="0"/>
              </a:rPr>
              <a:t>LINWOOD</a:t>
            </a:r>
          </a:p>
          <a:p>
            <a:pPr lvl="0" algn="ctr">
              <a:buClr>
                <a:srgbClr val="EE7F08"/>
              </a:buClr>
              <a:buSzPct val="130000"/>
            </a:pPr>
            <a:r>
              <a:rPr lang="fr-FR" sz="1000" kern="0" dirty="0">
                <a:solidFill>
                  <a:schemeClr val="accent3"/>
                </a:solidFill>
                <a:latin typeface="DIN Offc" panose="020B0504020101020102" pitchFamily="34" charset="0"/>
              </a:rPr>
              <a:t>US</a:t>
            </a:r>
            <a:endParaRPr lang="fr-FR" sz="1200" b="1" kern="0" dirty="0">
              <a:solidFill>
                <a:schemeClr val="accent3"/>
              </a:solidFill>
              <a:latin typeface="DIN Offc" panose="020B0504020101020102" pitchFamily="34" charset="0"/>
            </a:endParaRPr>
          </a:p>
        </p:txBody>
      </p:sp>
      <p:sp>
        <p:nvSpPr>
          <p:cNvPr id="41" name="Rectangle 51">
            <a:extLst>
              <a:ext uri="{FF2B5EF4-FFF2-40B4-BE49-F238E27FC236}">
                <a16:creationId xmlns:a16="http://schemas.microsoft.com/office/drawing/2014/main" id="{B57A08A2-7A57-C0DB-B87E-84DD1365C586}"/>
              </a:ext>
            </a:extLst>
          </p:cNvPr>
          <p:cNvSpPr/>
          <p:nvPr/>
        </p:nvSpPr>
        <p:spPr>
          <a:xfrm>
            <a:off x="9329714" y="3843579"/>
            <a:ext cx="542615" cy="19046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11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SEP</a:t>
            </a:r>
            <a:endParaRPr lang="fr-FR" sz="14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814E18E-676F-E8DF-FAB5-4C34A3FBE270}"/>
              </a:ext>
            </a:extLst>
          </p:cNvPr>
          <p:cNvSpPr/>
          <p:nvPr/>
        </p:nvSpPr>
        <p:spPr>
          <a:xfrm>
            <a:off x="8830239" y="4043470"/>
            <a:ext cx="156035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EE7F08"/>
              </a:buClr>
              <a:buSzPct val="130000"/>
            </a:pPr>
            <a:r>
              <a:rPr lang="fr-FR" sz="1200" b="1" kern="0" dirty="0">
                <a:solidFill>
                  <a:schemeClr val="accent3"/>
                </a:solidFill>
                <a:latin typeface="DIN Offc" panose="020B0504020101020102" pitchFamily="34" charset="0"/>
              </a:rPr>
              <a:t>JONICK DOCK</a:t>
            </a:r>
          </a:p>
          <a:p>
            <a:pPr lvl="0" algn="ctr">
              <a:buClr>
                <a:srgbClr val="EE7F08"/>
              </a:buClr>
              <a:buSzPct val="130000"/>
            </a:pPr>
            <a:r>
              <a:rPr lang="fr-FR" sz="1000" kern="0" dirty="0">
                <a:solidFill>
                  <a:schemeClr val="accent3"/>
                </a:solidFill>
                <a:latin typeface="DIN Offc" panose="020B0504020101020102" pitchFamily="34" charset="0"/>
              </a:rPr>
              <a:t>US</a:t>
            </a:r>
            <a:endParaRPr lang="fr-FR" sz="1200" b="1" kern="0" dirty="0">
              <a:solidFill>
                <a:schemeClr val="accent3"/>
              </a:solidFill>
              <a:latin typeface="DIN Offc" panose="020B0504020101020102" pitchFamily="34" charset="0"/>
            </a:endParaRPr>
          </a:p>
        </p:txBody>
      </p:sp>
      <p:sp>
        <p:nvSpPr>
          <p:cNvPr id="43" name="Rectangle 51">
            <a:extLst>
              <a:ext uri="{FF2B5EF4-FFF2-40B4-BE49-F238E27FC236}">
                <a16:creationId xmlns:a16="http://schemas.microsoft.com/office/drawing/2014/main" id="{F772A0E9-9332-F2B7-9CE5-B95562A97AEF}"/>
              </a:ext>
            </a:extLst>
          </p:cNvPr>
          <p:cNvSpPr/>
          <p:nvPr/>
        </p:nvSpPr>
        <p:spPr>
          <a:xfrm>
            <a:off x="9329714" y="4624496"/>
            <a:ext cx="542615" cy="19046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11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DEC</a:t>
            </a:r>
            <a:endParaRPr lang="fr-FR" sz="14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942A99A-BD5B-6512-2242-0AACDD043451}"/>
              </a:ext>
            </a:extLst>
          </p:cNvPr>
          <p:cNvSpPr/>
          <p:nvPr/>
        </p:nvSpPr>
        <p:spPr>
          <a:xfrm>
            <a:off x="8830239" y="4824387"/>
            <a:ext cx="1560356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EE7F08"/>
              </a:buClr>
              <a:buSzPct val="130000"/>
            </a:pPr>
            <a:r>
              <a:rPr lang="fr-FR" sz="1200" b="1" kern="0" dirty="0">
                <a:solidFill>
                  <a:schemeClr val="accent3"/>
                </a:solidFill>
                <a:latin typeface="DIN Offc" panose="020B0504020101020102" pitchFamily="34" charset="0"/>
              </a:rPr>
              <a:t>SCHLEGEL SAND AND GRAVEL</a:t>
            </a:r>
          </a:p>
          <a:p>
            <a:pPr lvl="0" algn="ctr">
              <a:buClr>
                <a:srgbClr val="EE7F08"/>
              </a:buClr>
              <a:buSzPct val="130000"/>
            </a:pPr>
            <a:r>
              <a:rPr lang="fr-FR" sz="1000" kern="0" dirty="0">
                <a:solidFill>
                  <a:schemeClr val="accent3"/>
                </a:solidFill>
                <a:latin typeface="DIN Offc" panose="020B0504020101020102" pitchFamily="34" charset="0"/>
              </a:rPr>
              <a:t>US</a:t>
            </a:r>
            <a:endParaRPr lang="fr-FR" sz="1200" b="1" kern="0" dirty="0">
              <a:solidFill>
                <a:schemeClr val="accent3"/>
              </a:solidFill>
              <a:latin typeface="DIN Offc" panose="020B0504020101020102" pitchFamily="34" charset="0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7077989F-3850-91C3-9E69-4CC97BB45314}"/>
              </a:ext>
            </a:extLst>
          </p:cNvPr>
          <p:cNvSpPr/>
          <p:nvPr/>
        </p:nvSpPr>
        <p:spPr>
          <a:xfrm>
            <a:off x="10427243" y="1743053"/>
            <a:ext cx="1601906" cy="1259092"/>
          </a:xfrm>
          <a:prstGeom prst="roundRect">
            <a:avLst>
              <a:gd name="adj" fmla="val 882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txBody>
          <a:bodyPr wrap="square" tIns="36000" bIns="36000" anchor="ctr" anchorCtr="0">
            <a:noAutofit/>
          </a:bodyPr>
          <a:lstStyle/>
          <a:p>
            <a:pPr algn="ctr">
              <a:spcBef>
                <a:spcPct val="20000"/>
              </a:spcBef>
              <a:buClr>
                <a:srgbClr val="EE7F08"/>
              </a:buClr>
              <a:buSzPct val="130000"/>
            </a:pPr>
            <a:endParaRPr lang="en-BE" b="1" kern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46" name="Rectangle 51">
            <a:extLst>
              <a:ext uri="{FF2B5EF4-FFF2-40B4-BE49-F238E27FC236}">
                <a16:creationId xmlns:a16="http://schemas.microsoft.com/office/drawing/2014/main" id="{408E248C-4887-A2EA-96BD-172D77A828AA}"/>
              </a:ext>
            </a:extLst>
          </p:cNvPr>
          <p:cNvSpPr/>
          <p:nvPr/>
        </p:nvSpPr>
        <p:spPr>
          <a:xfrm>
            <a:off x="10945070" y="2281745"/>
            <a:ext cx="542615" cy="190464"/>
          </a:xfrm>
          <a:prstGeom prst="rect">
            <a:avLst/>
          </a:prstGeom>
          <a:solidFill>
            <a:schemeClr val="tx1"/>
          </a:solidFill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11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FEB</a:t>
            </a:r>
            <a:endParaRPr lang="fr-FR" sz="14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FE5570D-051E-8ACE-D805-FCD3E969D4C0}"/>
              </a:ext>
            </a:extLst>
          </p:cNvPr>
          <p:cNvSpPr/>
          <p:nvPr/>
        </p:nvSpPr>
        <p:spPr>
          <a:xfrm>
            <a:off x="10445594" y="2481636"/>
            <a:ext cx="156035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EE7F08"/>
              </a:buClr>
              <a:buSzPct val="130000"/>
            </a:pPr>
            <a:r>
              <a:rPr lang="fr-FR" sz="1200" b="1" kern="0" dirty="0">
                <a:solidFill>
                  <a:schemeClr val="accent3"/>
                </a:solidFill>
                <a:latin typeface="DIN Offc" panose="020B0504020101020102" pitchFamily="34" charset="0"/>
              </a:rPr>
              <a:t>GREEN FIELD</a:t>
            </a:r>
          </a:p>
          <a:p>
            <a:pPr lvl="0" algn="ctr">
              <a:buClr>
                <a:srgbClr val="EE7F08"/>
              </a:buClr>
              <a:buSzPct val="130000"/>
            </a:pPr>
            <a:r>
              <a:rPr lang="fr-FR" sz="1000" kern="0" dirty="0">
                <a:solidFill>
                  <a:schemeClr val="accent3"/>
                </a:solidFill>
                <a:latin typeface="DIN Offc" panose="020B0504020101020102" pitchFamily="34" charset="0"/>
              </a:rPr>
              <a:t>SENEGAL</a:t>
            </a:r>
            <a:endParaRPr lang="fr-FR" sz="1200" b="1" kern="0" dirty="0">
              <a:solidFill>
                <a:schemeClr val="accent3"/>
              </a:solidFill>
              <a:latin typeface="DIN Offc" panose="020B0504020101020102" pitchFamily="34" charset="0"/>
            </a:endParaRPr>
          </a:p>
        </p:txBody>
      </p:sp>
      <p:sp>
        <p:nvSpPr>
          <p:cNvPr id="48" name="Arrow: Pentagon 47">
            <a:extLst>
              <a:ext uri="{FF2B5EF4-FFF2-40B4-BE49-F238E27FC236}">
                <a16:creationId xmlns:a16="http://schemas.microsoft.com/office/drawing/2014/main" id="{1B926263-7EFD-A6BC-85B1-342C5EF60660}"/>
              </a:ext>
            </a:extLst>
          </p:cNvPr>
          <p:cNvSpPr/>
          <p:nvPr/>
        </p:nvSpPr>
        <p:spPr>
          <a:xfrm rot="5400000" flipV="1">
            <a:off x="1236464" y="1122061"/>
            <a:ext cx="599205" cy="1601909"/>
          </a:xfrm>
          <a:prstGeom prst="homePlate">
            <a:avLst>
              <a:gd name="adj" fmla="val 38873"/>
            </a:avLst>
          </a:prstGeom>
          <a:solidFill>
            <a:schemeClr val="tx1"/>
          </a:solidFill>
          <a:ln w="38100">
            <a:solidFill>
              <a:schemeClr val="bg1"/>
            </a:solidFill>
          </a:ln>
        </p:spPr>
        <p:txBody>
          <a:bodyPr wrap="square" tIns="36000" bIns="36000" anchor="ctr" anchorCtr="0">
            <a:noAutofit/>
          </a:bodyPr>
          <a:lstStyle/>
          <a:p>
            <a:pPr algn="ctr">
              <a:spcBef>
                <a:spcPct val="20000"/>
              </a:spcBef>
              <a:buClr>
                <a:srgbClr val="EE7F08"/>
              </a:buClr>
              <a:buSzPct val="130000"/>
            </a:pPr>
            <a:endParaRPr lang="en-BE" sz="1600" b="1" kern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49" name="Arrow: Pentagon 48">
            <a:extLst>
              <a:ext uri="{FF2B5EF4-FFF2-40B4-BE49-F238E27FC236}">
                <a16:creationId xmlns:a16="http://schemas.microsoft.com/office/drawing/2014/main" id="{D2441997-9846-329E-5B80-6389009EE7CC}"/>
              </a:ext>
            </a:extLst>
          </p:cNvPr>
          <p:cNvSpPr/>
          <p:nvPr/>
        </p:nvSpPr>
        <p:spPr>
          <a:xfrm rot="5400000" flipV="1">
            <a:off x="2851388" y="1122060"/>
            <a:ext cx="599205" cy="1601907"/>
          </a:xfrm>
          <a:prstGeom prst="homePlate">
            <a:avLst>
              <a:gd name="adj" fmla="val 38873"/>
            </a:avLst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txBody>
          <a:bodyPr wrap="square" tIns="36000" bIns="36000" anchor="ctr" anchorCtr="0">
            <a:noAutofit/>
          </a:bodyPr>
          <a:lstStyle/>
          <a:p>
            <a:pPr algn="ctr">
              <a:spcBef>
                <a:spcPct val="20000"/>
              </a:spcBef>
              <a:buClr>
                <a:srgbClr val="EE7F08"/>
              </a:buClr>
              <a:buSzPct val="130000"/>
            </a:pPr>
            <a:endParaRPr lang="en-BE" sz="1600" b="1" kern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50" name="Arrow: Pentagon 49">
            <a:extLst>
              <a:ext uri="{FF2B5EF4-FFF2-40B4-BE49-F238E27FC236}">
                <a16:creationId xmlns:a16="http://schemas.microsoft.com/office/drawing/2014/main" id="{30E5EAC4-9C4B-81F0-0551-CCB3588EE440}"/>
              </a:ext>
            </a:extLst>
          </p:cNvPr>
          <p:cNvSpPr/>
          <p:nvPr/>
        </p:nvSpPr>
        <p:spPr>
          <a:xfrm rot="5400000" flipV="1">
            <a:off x="4467173" y="1122064"/>
            <a:ext cx="599205" cy="1601903"/>
          </a:xfrm>
          <a:prstGeom prst="homePlate">
            <a:avLst>
              <a:gd name="adj" fmla="val 38873"/>
            </a:avLst>
          </a:prstGeom>
          <a:solidFill>
            <a:schemeClr val="tx1"/>
          </a:solidFill>
          <a:ln w="38100">
            <a:solidFill>
              <a:schemeClr val="bg1"/>
            </a:solidFill>
          </a:ln>
        </p:spPr>
        <p:txBody>
          <a:bodyPr wrap="square" tIns="36000" bIns="36000" anchor="ctr" anchorCtr="0">
            <a:noAutofit/>
          </a:bodyPr>
          <a:lstStyle/>
          <a:p>
            <a:pPr algn="ctr">
              <a:spcBef>
                <a:spcPct val="20000"/>
              </a:spcBef>
              <a:buClr>
                <a:srgbClr val="EE7F08"/>
              </a:buClr>
              <a:buSzPct val="130000"/>
            </a:pPr>
            <a:endParaRPr lang="en-BE" sz="1600" b="1" kern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51" name="Arrow: Pentagon 50">
            <a:extLst>
              <a:ext uri="{FF2B5EF4-FFF2-40B4-BE49-F238E27FC236}">
                <a16:creationId xmlns:a16="http://schemas.microsoft.com/office/drawing/2014/main" id="{4F0BE960-C83B-CEC6-2FBC-07D3BD646408}"/>
              </a:ext>
            </a:extLst>
          </p:cNvPr>
          <p:cNvSpPr/>
          <p:nvPr/>
        </p:nvSpPr>
        <p:spPr>
          <a:xfrm rot="5400000" flipV="1">
            <a:off x="6082526" y="1122061"/>
            <a:ext cx="599205" cy="1601907"/>
          </a:xfrm>
          <a:prstGeom prst="homePlate">
            <a:avLst>
              <a:gd name="adj" fmla="val 38873"/>
            </a:avLst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txBody>
          <a:bodyPr wrap="square" tIns="36000" bIns="36000" anchor="ctr" anchorCtr="0">
            <a:noAutofit/>
          </a:bodyPr>
          <a:lstStyle/>
          <a:p>
            <a:pPr algn="ctr">
              <a:spcBef>
                <a:spcPct val="20000"/>
              </a:spcBef>
              <a:buClr>
                <a:srgbClr val="EE7F08"/>
              </a:buClr>
              <a:buSzPct val="130000"/>
            </a:pPr>
            <a:endParaRPr lang="en-BE" sz="1600" b="1" kern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52" name="Arrow: Pentagon 51">
            <a:extLst>
              <a:ext uri="{FF2B5EF4-FFF2-40B4-BE49-F238E27FC236}">
                <a16:creationId xmlns:a16="http://schemas.microsoft.com/office/drawing/2014/main" id="{B1C85D44-F0EB-7CED-ADE4-7CD10AAA6397}"/>
              </a:ext>
            </a:extLst>
          </p:cNvPr>
          <p:cNvSpPr/>
          <p:nvPr/>
        </p:nvSpPr>
        <p:spPr>
          <a:xfrm rot="5400000" flipV="1">
            <a:off x="7697881" y="1122062"/>
            <a:ext cx="599205" cy="1601907"/>
          </a:xfrm>
          <a:prstGeom prst="homePlate">
            <a:avLst>
              <a:gd name="adj" fmla="val 38873"/>
            </a:avLst>
          </a:prstGeom>
          <a:solidFill>
            <a:schemeClr val="tx1"/>
          </a:solidFill>
          <a:ln w="38100">
            <a:solidFill>
              <a:schemeClr val="bg1"/>
            </a:solidFill>
          </a:ln>
        </p:spPr>
        <p:txBody>
          <a:bodyPr wrap="square" tIns="36000" bIns="36000" anchor="ctr" anchorCtr="0">
            <a:noAutofit/>
          </a:bodyPr>
          <a:lstStyle/>
          <a:p>
            <a:pPr algn="ctr">
              <a:spcBef>
                <a:spcPct val="20000"/>
              </a:spcBef>
              <a:buClr>
                <a:srgbClr val="EE7F08"/>
              </a:buClr>
              <a:buSzPct val="130000"/>
            </a:pPr>
            <a:endParaRPr lang="en-BE" sz="1600" b="1" kern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53" name="Arrow: Pentagon 52">
            <a:extLst>
              <a:ext uri="{FF2B5EF4-FFF2-40B4-BE49-F238E27FC236}">
                <a16:creationId xmlns:a16="http://schemas.microsoft.com/office/drawing/2014/main" id="{B6026DBC-86D0-FD3D-76D6-85A2671250DD}"/>
              </a:ext>
            </a:extLst>
          </p:cNvPr>
          <p:cNvSpPr/>
          <p:nvPr/>
        </p:nvSpPr>
        <p:spPr>
          <a:xfrm rot="5400000" flipV="1">
            <a:off x="9313235" y="1122062"/>
            <a:ext cx="599205" cy="1601907"/>
          </a:xfrm>
          <a:prstGeom prst="homePlate">
            <a:avLst>
              <a:gd name="adj" fmla="val 38873"/>
            </a:avLst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txBody>
          <a:bodyPr wrap="square" tIns="36000" bIns="36000" anchor="ctr" anchorCtr="0">
            <a:noAutofit/>
          </a:bodyPr>
          <a:lstStyle/>
          <a:p>
            <a:pPr algn="ctr">
              <a:spcBef>
                <a:spcPct val="20000"/>
              </a:spcBef>
              <a:buClr>
                <a:srgbClr val="EE7F08"/>
              </a:buClr>
              <a:buSzPct val="130000"/>
            </a:pPr>
            <a:endParaRPr lang="en-BE" sz="1600" b="1" kern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86AB65F-753A-7651-F54F-0DB5A57256E3}"/>
              </a:ext>
            </a:extLst>
          </p:cNvPr>
          <p:cNvSpPr/>
          <p:nvPr/>
        </p:nvSpPr>
        <p:spPr>
          <a:xfrm>
            <a:off x="1104430" y="1720504"/>
            <a:ext cx="862832" cy="268186"/>
          </a:xfrm>
          <a:prstGeom prst="rect">
            <a:avLst/>
          </a:prstGeom>
          <a:noFill/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20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2016</a:t>
            </a:r>
            <a:endParaRPr lang="fr-FR" sz="28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D88B18B-8F6E-DC7D-8922-7D11DAD0D7C7}"/>
              </a:ext>
            </a:extLst>
          </p:cNvPr>
          <p:cNvSpPr/>
          <p:nvPr/>
        </p:nvSpPr>
        <p:spPr>
          <a:xfrm>
            <a:off x="2719574" y="1720504"/>
            <a:ext cx="862832" cy="268186"/>
          </a:xfrm>
          <a:prstGeom prst="rect">
            <a:avLst/>
          </a:prstGeom>
          <a:noFill/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20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2017</a:t>
            </a:r>
            <a:endParaRPr lang="fr-FR" sz="28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32751403-1E5D-30BB-A20F-A6C576401CBC}"/>
              </a:ext>
            </a:extLst>
          </p:cNvPr>
          <p:cNvSpPr/>
          <p:nvPr/>
        </p:nvSpPr>
        <p:spPr>
          <a:xfrm>
            <a:off x="4333975" y="1720504"/>
            <a:ext cx="862832" cy="268186"/>
          </a:xfrm>
          <a:prstGeom prst="rect">
            <a:avLst/>
          </a:prstGeom>
          <a:noFill/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20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2018</a:t>
            </a:r>
            <a:endParaRPr lang="fr-FR" sz="28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E93EBC06-0E26-83AF-89A8-6EECAA0CC6F1}"/>
              </a:ext>
            </a:extLst>
          </p:cNvPr>
          <p:cNvSpPr/>
          <p:nvPr/>
        </p:nvSpPr>
        <p:spPr>
          <a:xfrm>
            <a:off x="5948747" y="1720504"/>
            <a:ext cx="862832" cy="268186"/>
          </a:xfrm>
          <a:prstGeom prst="rect">
            <a:avLst/>
          </a:prstGeom>
          <a:noFill/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20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2019</a:t>
            </a:r>
            <a:endParaRPr lang="fr-FR" sz="28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EAE41D9-99F9-98E9-C0CB-3F466E797A1B}"/>
              </a:ext>
            </a:extLst>
          </p:cNvPr>
          <p:cNvSpPr/>
          <p:nvPr/>
        </p:nvSpPr>
        <p:spPr>
          <a:xfrm>
            <a:off x="7563519" y="1720504"/>
            <a:ext cx="862832" cy="268186"/>
          </a:xfrm>
          <a:prstGeom prst="rect">
            <a:avLst/>
          </a:prstGeom>
          <a:noFill/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20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2020</a:t>
            </a:r>
            <a:endParaRPr lang="fr-FR" sz="28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9B4FD15-AEC3-5FEC-7F71-4ECD5572D75D}"/>
              </a:ext>
            </a:extLst>
          </p:cNvPr>
          <p:cNvSpPr/>
          <p:nvPr/>
        </p:nvSpPr>
        <p:spPr>
          <a:xfrm>
            <a:off x="9178294" y="1720504"/>
            <a:ext cx="862832" cy="268186"/>
          </a:xfrm>
          <a:prstGeom prst="rect">
            <a:avLst/>
          </a:prstGeom>
          <a:noFill/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20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2021</a:t>
            </a:r>
            <a:endParaRPr lang="fr-FR" sz="28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60" name="Arrow: Pentagon 59">
            <a:extLst>
              <a:ext uri="{FF2B5EF4-FFF2-40B4-BE49-F238E27FC236}">
                <a16:creationId xmlns:a16="http://schemas.microsoft.com/office/drawing/2014/main" id="{7826F0BB-8B35-8B43-BF24-6C7A6AD85CF8}"/>
              </a:ext>
            </a:extLst>
          </p:cNvPr>
          <p:cNvSpPr/>
          <p:nvPr/>
        </p:nvSpPr>
        <p:spPr>
          <a:xfrm rot="5400000" flipV="1">
            <a:off x="10928592" y="1122061"/>
            <a:ext cx="599205" cy="1601909"/>
          </a:xfrm>
          <a:prstGeom prst="homePlate">
            <a:avLst>
              <a:gd name="adj" fmla="val 38873"/>
            </a:avLst>
          </a:prstGeom>
          <a:solidFill>
            <a:schemeClr val="tx1"/>
          </a:solidFill>
          <a:ln w="38100">
            <a:solidFill>
              <a:schemeClr val="bg1"/>
            </a:solidFill>
          </a:ln>
        </p:spPr>
        <p:txBody>
          <a:bodyPr wrap="square" tIns="36000" bIns="36000" anchor="ctr" anchorCtr="0">
            <a:noAutofit/>
          </a:bodyPr>
          <a:lstStyle/>
          <a:p>
            <a:pPr algn="ctr">
              <a:spcBef>
                <a:spcPct val="20000"/>
              </a:spcBef>
              <a:buClr>
                <a:srgbClr val="EE7F08"/>
              </a:buClr>
              <a:buSzPct val="130000"/>
            </a:pPr>
            <a:endParaRPr lang="en-BE" sz="1600" b="1" kern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C2E2C04-3BED-D6D6-6C72-F01FFE373E33}"/>
              </a:ext>
            </a:extLst>
          </p:cNvPr>
          <p:cNvSpPr/>
          <p:nvPr/>
        </p:nvSpPr>
        <p:spPr>
          <a:xfrm>
            <a:off x="10796478" y="1720504"/>
            <a:ext cx="862832" cy="268186"/>
          </a:xfrm>
          <a:prstGeom prst="rect">
            <a:avLst/>
          </a:prstGeom>
          <a:noFill/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20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2022</a:t>
            </a:r>
            <a:endParaRPr lang="fr-FR" sz="28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C187173-832B-14EC-72D7-687FADA9015B}"/>
              </a:ext>
            </a:extLst>
          </p:cNvPr>
          <p:cNvSpPr/>
          <p:nvPr/>
        </p:nvSpPr>
        <p:spPr>
          <a:xfrm>
            <a:off x="3932463" y="2481636"/>
            <a:ext cx="16670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EE7F08"/>
              </a:buClr>
              <a:buSzPct val="130000"/>
            </a:pPr>
            <a:r>
              <a:rPr lang="fr-FR" sz="1200" b="1" kern="0" dirty="0">
                <a:solidFill>
                  <a:schemeClr val="accent3"/>
                </a:solidFill>
                <a:latin typeface="DIN Offc" panose="020B0504020101020102" pitchFamily="34" charset="0"/>
              </a:rPr>
              <a:t>SARABURI QUICKLIME</a:t>
            </a:r>
          </a:p>
          <a:p>
            <a:pPr lvl="0" algn="ctr">
              <a:buClr>
                <a:srgbClr val="EE7F08"/>
              </a:buClr>
              <a:buSzPct val="130000"/>
            </a:pPr>
            <a:r>
              <a:rPr lang="fr-FR" sz="1000" kern="0" dirty="0">
                <a:solidFill>
                  <a:schemeClr val="accent3"/>
                </a:solidFill>
                <a:latin typeface="DIN Offc" panose="020B0504020101020102" pitchFamily="34" charset="0"/>
              </a:rPr>
              <a:t>THAILAND</a:t>
            </a:r>
          </a:p>
        </p:txBody>
      </p:sp>
      <p:sp>
        <p:nvSpPr>
          <p:cNvPr id="63" name="Rectangle 51">
            <a:extLst>
              <a:ext uri="{FF2B5EF4-FFF2-40B4-BE49-F238E27FC236}">
                <a16:creationId xmlns:a16="http://schemas.microsoft.com/office/drawing/2014/main" id="{7A096848-4F83-1507-9A7B-730F082FAE61}"/>
              </a:ext>
            </a:extLst>
          </p:cNvPr>
          <p:cNvSpPr/>
          <p:nvPr/>
        </p:nvSpPr>
        <p:spPr>
          <a:xfrm>
            <a:off x="9329714" y="2281745"/>
            <a:ext cx="542615" cy="190464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E7F08"/>
              </a:buClr>
              <a:buSzPct val="130000"/>
            </a:pPr>
            <a:r>
              <a:rPr lang="fr-FR" sz="1100" b="1" kern="0" dirty="0">
                <a:solidFill>
                  <a:schemeClr val="bg1"/>
                </a:solidFill>
                <a:latin typeface="DIN Offc" panose="020B0504020101020102" pitchFamily="34" charset="0"/>
              </a:rPr>
              <a:t>MAR</a:t>
            </a:r>
            <a:endParaRPr lang="fr-FR" sz="1400" b="1" kern="0" dirty="0">
              <a:solidFill>
                <a:schemeClr val="bg1"/>
              </a:solidFill>
              <a:latin typeface="DIN Offc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4035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063A996-E166-A170-5955-204D2B54675C}"/>
              </a:ext>
            </a:extLst>
          </p:cNvPr>
          <p:cNvSpPr/>
          <p:nvPr/>
        </p:nvSpPr>
        <p:spPr>
          <a:xfrm>
            <a:off x="6870634" y="1275959"/>
            <a:ext cx="5321365" cy="5392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5E882DC-32F2-4154-A8E9-256A4358F5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5E882DC-32F2-4154-A8E9-256A4358F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98A326E-F606-7A01-EB3B-C70C4A6EB48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4" r="14344"/>
          <a:stretch/>
        </p:blipFill>
        <p:spPr>
          <a:xfrm>
            <a:off x="785185" y="1334739"/>
            <a:ext cx="5601101" cy="5241504"/>
          </a:xfrm>
          <a:prstGeom prst="rect">
            <a:avLst/>
          </a:prstGeom>
        </p:spPr>
      </p:pic>
      <p:grpSp>
        <p:nvGrpSpPr>
          <p:cNvPr id="150" name="Group 149"/>
          <p:cNvGrpSpPr/>
          <p:nvPr/>
        </p:nvGrpSpPr>
        <p:grpSpPr>
          <a:xfrm>
            <a:off x="6870635" y="700973"/>
            <a:ext cx="548456" cy="5875270"/>
            <a:chOff x="12774319" y="517100"/>
            <a:chExt cx="548456" cy="5875270"/>
          </a:xfrm>
          <a:solidFill>
            <a:schemeClr val="bg2"/>
          </a:solidFill>
        </p:grpSpPr>
        <p:sp>
          <p:nvSpPr>
            <p:cNvPr id="151" name="Rectangle 150"/>
            <p:cNvSpPr/>
            <p:nvPr/>
          </p:nvSpPr>
          <p:spPr bwMode="auto">
            <a:xfrm>
              <a:off x="12774319" y="2908352"/>
              <a:ext cx="548456" cy="49495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2" name="Rectangle 151"/>
            <p:cNvSpPr/>
            <p:nvPr/>
          </p:nvSpPr>
          <p:spPr bwMode="auto">
            <a:xfrm>
              <a:off x="12774319" y="517100"/>
              <a:ext cx="548456" cy="49495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chemeClr val="bg1"/>
                  </a:solidFill>
                  <a:latin typeface="+mj-lt"/>
                </a:rPr>
                <a:t> </a:t>
              </a:r>
            </a:p>
          </p:txBody>
        </p:sp>
        <p:sp>
          <p:nvSpPr>
            <p:cNvPr id="153" name="Rectangle 152"/>
            <p:cNvSpPr/>
            <p:nvPr/>
          </p:nvSpPr>
          <p:spPr bwMode="auto">
            <a:xfrm>
              <a:off x="12774319" y="3506165"/>
              <a:ext cx="548456" cy="49495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chemeClr val="bg1"/>
                  </a:solidFill>
                  <a:latin typeface="+mj-lt"/>
                </a:rPr>
                <a:t> </a:t>
              </a:r>
            </a:p>
          </p:txBody>
        </p:sp>
        <p:sp>
          <p:nvSpPr>
            <p:cNvPr id="155" name="Rectangle 154"/>
            <p:cNvSpPr/>
            <p:nvPr/>
          </p:nvSpPr>
          <p:spPr bwMode="auto">
            <a:xfrm>
              <a:off x="12774319" y="4701791"/>
              <a:ext cx="548456" cy="49495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chemeClr val="bg1"/>
                  </a:solidFill>
                  <a:latin typeface="+mj-lt"/>
                </a:rPr>
                <a:t> </a:t>
              </a:r>
            </a:p>
          </p:txBody>
        </p:sp>
        <p:sp>
          <p:nvSpPr>
            <p:cNvPr id="156" name="Rectangle 155"/>
            <p:cNvSpPr/>
            <p:nvPr/>
          </p:nvSpPr>
          <p:spPr bwMode="auto">
            <a:xfrm>
              <a:off x="12774319" y="5897414"/>
              <a:ext cx="548456" cy="49495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7" name="Rectangle 156"/>
            <p:cNvSpPr/>
            <p:nvPr/>
          </p:nvSpPr>
          <p:spPr bwMode="auto">
            <a:xfrm>
              <a:off x="12774319" y="1712726"/>
              <a:ext cx="548456" cy="49495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chemeClr val="bg1"/>
                  </a:solidFill>
                  <a:latin typeface="+mj-lt"/>
                </a:rPr>
                <a:t> </a:t>
              </a:r>
            </a:p>
          </p:txBody>
        </p:sp>
        <p:sp>
          <p:nvSpPr>
            <p:cNvPr id="158" name="Rectangle 157"/>
            <p:cNvSpPr/>
            <p:nvPr/>
          </p:nvSpPr>
          <p:spPr bwMode="auto">
            <a:xfrm>
              <a:off x="12774319" y="4103978"/>
              <a:ext cx="548456" cy="49495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chemeClr val="bg1"/>
                  </a:solidFill>
                  <a:latin typeface="+mj-lt"/>
                </a:rPr>
                <a:t> </a:t>
              </a:r>
            </a:p>
          </p:txBody>
        </p:sp>
        <p:sp>
          <p:nvSpPr>
            <p:cNvPr id="159" name="Rectangle 158"/>
            <p:cNvSpPr/>
            <p:nvPr/>
          </p:nvSpPr>
          <p:spPr bwMode="auto">
            <a:xfrm>
              <a:off x="12774319" y="2310539"/>
              <a:ext cx="548456" cy="49495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chemeClr val="bg1"/>
                  </a:solidFill>
                  <a:latin typeface="+mj-lt"/>
                </a:rPr>
                <a:t> </a:t>
              </a:r>
            </a:p>
          </p:txBody>
        </p:sp>
        <p:sp>
          <p:nvSpPr>
            <p:cNvPr id="160" name="Rectangle 159"/>
            <p:cNvSpPr/>
            <p:nvPr/>
          </p:nvSpPr>
          <p:spPr bwMode="auto">
            <a:xfrm>
              <a:off x="12774319" y="5299604"/>
              <a:ext cx="548456" cy="49495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chemeClr val="bg1"/>
                  </a:solidFill>
                  <a:latin typeface="+mj-lt"/>
                </a:rPr>
                <a:t> </a:t>
              </a:r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6870635" y="3092225"/>
            <a:ext cx="4772165" cy="494956"/>
            <a:chOff x="6783862" y="613887"/>
            <a:chExt cx="4772165" cy="494956"/>
          </a:xfrm>
        </p:grpSpPr>
        <p:sp>
          <p:nvSpPr>
            <p:cNvPr id="85" name="TextBox 84"/>
            <p:cNvSpPr txBox="1"/>
            <p:nvPr/>
          </p:nvSpPr>
          <p:spPr>
            <a:xfrm>
              <a:off x="8154840" y="651299"/>
              <a:ext cx="34011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>
                <a:defRPr sz="2000">
                  <a:latin typeface="DIN Offc" panose="020B0504020101020102" pitchFamily="34" charset="0"/>
                </a:defRPr>
              </a:lvl1pPr>
            </a:lstStyle>
            <a:p>
              <a:r>
                <a:rPr lang="en-US" sz="1800">
                  <a:latin typeface="+mj-lt"/>
                </a:rPr>
                <a:t>WATER &amp; WASTE TREATMENT</a:t>
              </a:r>
            </a:p>
          </p:txBody>
        </p:sp>
        <p:sp>
          <p:nvSpPr>
            <p:cNvPr id="138" name="Rectangle 137"/>
            <p:cNvSpPr/>
            <p:nvPr/>
          </p:nvSpPr>
          <p:spPr bwMode="auto">
            <a:xfrm>
              <a:off x="6783862" y="613887"/>
              <a:ext cx="548456" cy="494956"/>
            </a:xfrm>
            <a:prstGeom prst="rect">
              <a:avLst/>
            </a:prstGeom>
            <a:solidFill>
              <a:srgbClr val="0067B3">
                <a:alpha val="87843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chemeClr val="bg1"/>
                  </a:solidFill>
                  <a:latin typeface="+mj-lt"/>
                </a:rPr>
                <a:t>6%</a:t>
              </a:r>
            </a:p>
          </p:txBody>
        </p:sp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38278" y="619445"/>
              <a:ext cx="394188" cy="480854"/>
            </a:xfrm>
            <a:prstGeom prst="rect">
              <a:avLst/>
            </a:prstGeom>
          </p:spPr>
        </p:pic>
      </p:grpSp>
      <p:grpSp>
        <p:nvGrpSpPr>
          <p:cNvPr id="74" name="Group 73"/>
          <p:cNvGrpSpPr/>
          <p:nvPr/>
        </p:nvGrpSpPr>
        <p:grpSpPr>
          <a:xfrm>
            <a:off x="6870635" y="700973"/>
            <a:ext cx="4591874" cy="494956"/>
            <a:chOff x="6783862" y="1211700"/>
            <a:chExt cx="4591874" cy="494956"/>
          </a:xfrm>
        </p:grpSpPr>
        <p:sp>
          <p:nvSpPr>
            <p:cNvPr id="86" name="TextBox 85"/>
            <p:cNvSpPr txBox="1"/>
            <p:nvPr/>
          </p:nvSpPr>
          <p:spPr>
            <a:xfrm>
              <a:off x="8154840" y="1250102"/>
              <a:ext cx="322089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>
                <a:defRPr sz="2000">
                  <a:latin typeface="DIN Offc" panose="020B0504020101020102" pitchFamily="34" charset="0"/>
                </a:defRPr>
              </a:lvl1pPr>
            </a:lstStyle>
            <a:p>
              <a:r>
                <a:rPr lang="en-US" sz="1800">
                  <a:latin typeface="+mj-lt"/>
                </a:rPr>
                <a:t>IRON &amp; STEEL</a:t>
              </a:r>
            </a:p>
          </p:txBody>
        </p:sp>
        <p:pic>
          <p:nvPicPr>
            <p:cNvPr id="62" name="Picture 61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71311" y="1362391"/>
              <a:ext cx="328122" cy="328970"/>
            </a:xfrm>
            <a:prstGeom prst="rect">
              <a:avLst/>
            </a:prstGeom>
          </p:spPr>
        </p:pic>
        <p:sp>
          <p:nvSpPr>
            <p:cNvPr id="82" name="Rectangle 81"/>
            <p:cNvSpPr/>
            <p:nvPr/>
          </p:nvSpPr>
          <p:spPr bwMode="auto">
            <a:xfrm>
              <a:off x="6783862" y="1211700"/>
              <a:ext cx="548456" cy="494956"/>
            </a:xfrm>
            <a:prstGeom prst="rect">
              <a:avLst/>
            </a:prstGeom>
            <a:solidFill>
              <a:srgbClr val="0067B3">
                <a:alpha val="87843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chemeClr val="bg1"/>
                  </a:solidFill>
                  <a:latin typeface="+mj-lt"/>
                </a:rPr>
                <a:t> 36%</a:t>
              </a: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6870635" y="3690038"/>
            <a:ext cx="4591876" cy="494956"/>
            <a:chOff x="6783862" y="1809513"/>
            <a:chExt cx="4591876" cy="494956"/>
          </a:xfrm>
        </p:grpSpPr>
        <p:sp>
          <p:nvSpPr>
            <p:cNvPr id="87" name="TextBox 86"/>
            <p:cNvSpPr txBox="1"/>
            <p:nvPr/>
          </p:nvSpPr>
          <p:spPr>
            <a:xfrm>
              <a:off x="8154842" y="1848905"/>
              <a:ext cx="322089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>
                  <a:latin typeface="+mj-lt"/>
                </a:rPr>
                <a:t>CHEMICAL</a:t>
              </a:r>
            </a:p>
          </p:txBody>
        </p:sp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92802" y="1864553"/>
              <a:ext cx="285140" cy="383950"/>
            </a:xfrm>
            <a:prstGeom prst="rect">
              <a:avLst/>
            </a:prstGeom>
          </p:spPr>
        </p:pic>
        <p:sp>
          <p:nvSpPr>
            <p:cNvPr id="83" name="Rectangle 82"/>
            <p:cNvSpPr/>
            <p:nvPr/>
          </p:nvSpPr>
          <p:spPr bwMode="auto">
            <a:xfrm>
              <a:off x="6783862" y="1809513"/>
              <a:ext cx="548456" cy="494956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chemeClr val="bg1"/>
                  </a:solidFill>
                  <a:latin typeface="+mj-lt"/>
                </a:rPr>
                <a:t> 6%</a:t>
              </a: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6870635" y="1298786"/>
            <a:ext cx="4591875" cy="494956"/>
            <a:chOff x="6783862" y="2407326"/>
            <a:chExt cx="4591875" cy="494956"/>
          </a:xfrm>
        </p:grpSpPr>
        <p:sp>
          <p:nvSpPr>
            <p:cNvPr id="88" name="TextBox 87"/>
            <p:cNvSpPr txBox="1"/>
            <p:nvPr/>
          </p:nvSpPr>
          <p:spPr>
            <a:xfrm>
              <a:off x="8154841" y="2466758"/>
              <a:ext cx="322089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>
                <a:defRPr sz="2000">
                  <a:latin typeface="DIN Offc" panose="020B0504020101020102" pitchFamily="34" charset="0"/>
                </a:defRPr>
              </a:lvl1pPr>
            </a:lstStyle>
            <a:p>
              <a:r>
                <a:rPr lang="en-US" sz="1800" b="1">
                  <a:solidFill>
                    <a:schemeClr val="bg1"/>
                  </a:solidFill>
                  <a:latin typeface="+mj-lt"/>
                </a:rPr>
                <a:t>CIVIL ENGINEERING</a:t>
              </a:r>
            </a:p>
          </p:txBody>
        </p:sp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10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77734" y="2504245"/>
              <a:ext cx="477176" cy="318938"/>
            </a:xfrm>
            <a:prstGeom prst="rect">
              <a:avLst/>
            </a:prstGeom>
          </p:spPr>
        </p:pic>
        <p:sp>
          <p:nvSpPr>
            <p:cNvPr id="84" name="Rectangle 83"/>
            <p:cNvSpPr/>
            <p:nvPr/>
          </p:nvSpPr>
          <p:spPr bwMode="auto">
            <a:xfrm>
              <a:off x="6783862" y="2407326"/>
              <a:ext cx="548456" cy="49495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chemeClr val="bg1"/>
                  </a:solidFill>
                  <a:latin typeface="+mj-lt"/>
                </a:rPr>
                <a:t> 14%</a:t>
              </a: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6870635" y="4885664"/>
            <a:ext cx="4591874" cy="494956"/>
            <a:chOff x="6783862" y="3005139"/>
            <a:chExt cx="4591874" cy="494956"/>
          </a:xfrm>
        </p:grpSpPr>
        <p:sp>
          <p:nvSpPr>
            <p:cNvPr id="89" name="TextBox 88"/>
            <p:cNvSpPr txBox="1"/>
            <p:nvPr/>
          </p:nvSpPr>
          <p:spPr>
            <a:xfrm>
              <a:off x="8154840" y="3046511"/>
              <a:ext cx="322089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>
                <a:defRPr sz="2000">
                  <a:latin typeface="DIN Offc" panose="020B0504020101020102" pitchFamily="34" charset="0"/>
                </a:defRPr>
              </a:lvl1pPr>
            </a:lstStyle>
            <a:p>
              <a:r>
                <a:rPr lang="en-US" sz="1800">
                  <a:latin typeface="+mj-lt"/>
                </a:rPr>
                <a:t>AGRICULTURE</a:t>
              </a:r>
            </a:p>
          </p:txBody>
        </p:sp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39800" y="3053525"/>
              <a:ext cx="391144" cy="405192"/>
            </a:xfrm>
            <a:prstGeom prst="rect">
              <a:avLst/>
            </a:prstGeom>
          </p:spPr>
        </p:pic>
        <p:sp>
          <p:nvSpPr>
            <p:cNvPr id="95" name="Rectangle 94"/>
            <p:cNvSpPr/>
            <p:nvPr/>
          </p:nvSpPr>
          <p:spPr bwMode="auto">
            <a:xfrm>
              <a:off x="6783862" y="3005139"/>
              <a:ext cx="548456" cy="494956"/>
            </a:xfrm>
            <a:prstGeom prst="rect">
              <a:avLst/>
            </a:prstGeom>
            <a:solidFill>
              <a:srgbClr val="0067B3">
                <a:alpha val="87843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chemeClr val="bg1"/>
                  </a:solidFill>
                  <a:latin typeface="+mj-lt"/>
                </a:rPr>
                <a:t> 4%</a:t>
              </a: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6870635" y="6081287"/>
            <a:ext cx="4591875" cy="494956"/>
            <a:chOff x="6783862" y="4200765"/>
            <a:chExt cx="4591875" cy="494956"/>
          </a:xfrm>
        </p:grpSpPr>
        <p:sp>
          <p:nvSpPr>
            <p:cNvPr id="91" name="TextBox 90"/>
            <p:cNvSpPr txBox="1"/>
            <p:nvPr/>
          </p:nvSpPr>
          <p:spPr>
            <a:xfrm>
              <a:off x="8154841" y="4244117"/>
              <a:ext cx="322089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>
                <a:defRPr sz="2000">
                  <a:latin typeface="DIN Offc" panose="020B0504020101020102" pitchFamily="34" charset="0"/>
                </a:defRPr>
              </a:lvl1pPr>
            </a:lstStyle>
            <a:p>
              <a:r>
                <a:rPr lang="en-US" sz="1800">
                  <a:latin typeface="+mj-lt"/>
                </a:rPr>
                <a:t>GLASS</a:t>
              </a:r>
            </a:p>
          </p:txBody>
        </p:sp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49803" y="4285141"/>
              <a:ext cx="371138" cy="343010"/>
            </a:xfrm>
            <a:prstGeom prst="rect">
              <a:avLst/>
            </a:prstGeom>
          </p:spPr>
        </p:pic>
        <p:sp>
          <p:nvSpPr>
            <p:cNvPr id="96" name="Rectangle 95"/>
            <p:cNvSpPr/>
            <p:nvPr/>
          </p:nvSpPr>
          <p:spPr bwMode="auto">
            <a:xfrm>
              <a:off x="6783862" y="4200765"/>
              <a:ext cx="548456" cy="494956"/>
            </a:xfrm>
            <a:prstGeom prst="rect">
              <a:avLst/>
            </a:prstGeom>
            <a:solidFill>
              <a:srgbClr val="0067B3">
                <a:alpha val="87843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chemeClr val="bg1"/>
                  </a:solidFill>
                  <a:latin typeface="+mj-lt"/>
                </a:rPr>
                <a:t> 2%</a:t>
              </a:r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6870635" y="1896599"/>
            <a:ext cx="4370276" cy="494956"/>
            <a:chOff x="6783862" y="4798578"/>
            <a:chExt cx="4370276" cy="494956"/>
          </a:xfrm>
        </p:grpSpPr>
        <p:sp>
          <p:nvSpPr>
            <p:cNvPr id="92" name="TextBox 91"/>
            <p:cNvSpPr txBox="1"/>
            <p:nvPr/>
          </p:nvSpPr>
          <p:spPr>
            <a:xfrm>
              <a:off x="8154840" y="4842920"/>
              <a:ext cx="29992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>
                <a:defRPr sz="2000">
                  <a:latin typeface="DIN Offc" panose="020B0504020101020102" pitchFamily="34" charset="0"/>
                </a:defRPr>
              </a:lvl1pPr>
            </a:lstStyle>
            <a:p>
              <a:r>
                <a:rPr lang="en-US" sz="1800">
                  <a:latin typeface="+mj-lt"/>
                </a:rPr>
                <a:t>FLUE GAS CLEANING</a:t>
              </a:r>
            </a:p>
          </p:txBody>
        </p:sp>
        <p:pic>
          <p:nvPicPr>
            <p:cNvPr id="58" name="Picture 57"/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48303" y="4801343"/>
              <a:ext cx="374138" cy="405194"/>
            </a:xfrm>
            <a:prstGeom prst="rect">
              <a:avLst/>
            </a:prstGeom>
          </p:spPr>
        </p:pic>
        <p:sp>
          <p:nvSpPr>
            <p:cNvPr id="97" name="Rectangle 96"/>
            <p:cNvSpPr/>
            <p:nvPr/>
          </p:nvSpPr>
          <p:spPr bwMode="auto">
            <a:xfrm>
              <a:off x="6783862" y="4798578"/>
              <a:ext cx="548456" cy="494956"/>
            </a:xfrm>
            <a:prstGeom prst="rect">
              <a:avLst/>
            </a:prstGeom>
            <a:solidFill>
              <a:srgbClr val="0067B3">
                <a:alpha val="87843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chemeClr val="bg1"/>
                  </a:solidFill>
                  <a:latin typeface="+mj-lt"/>
                </a:rPr>
                <a:t> 10%</a:t>
              </a: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6870635" y="4287851"/>
            <a:ext cx="4591875" cy="494956"/>
            <a:chOff x="6783862" y="5396391"/>
            <a:chExt cx="4591875" cy="494956"/>
          </a:xfrm>
        </p:grpSpPr>
        <p:sp>
          <p:nvSpPr>
            <p:cNvPr id="93" name="TextBox 92"/>
            <p:cNvSpPr txBox="1"/>
            <p:nvPr/>
          </p:nvSpPr>
          <p:spPr>
            <a:xfrm>
              <a:off x="8154841" y="5441723"/>
              <a:ext cx="322089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>
                <a:defRPr sz="2000">
                  <a:latin typeface="DIN Offc" panose="020B0504020101020102" pitchFamily="34" charset="0"/>
                </a:defRPr>
              </a:lvl1pPr>
            </a:lstStyle>
            <a:p>
              <a:r>
                <a:rPr lang="en-US" sz="1800">
                  <a:latin typeface="+mj-lt"/>
                </a:rPr>
                <a:t>NON-FERROUS</a:t>
              </a:r>
            </a:p>
          </p:txBody>
        </p:sp>
        <p:pic>
          <p:nvPicPr>
            <p:cNvPr id="60" name="Picture 59"/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84281" y="5468629"/>
              <a:ext cx="502182" cy="288848"/>
            </a:xfrm>
            <a:prstGeom prst="rect">
              <a:avLst/>
            </a:prstGeom>
          </p:spPr>
        </p:pic>
        <p:sp>
          <p:nvSpPr>
            <p:cNvPr id="98" name="Rectangle 97"/>
            <p:cNvSpPr/>
            <p:nvPr/>
          </p:nvSpPr>
          <p:spPr bwMode="auto">
            <a:xfrm>
              <a:off x="6783862" y="5396391"/>
              <a:ext cx="548456" cy="494956"/>
            </a:xfrm>
            <a:prstGeom prst="rect">
              <a:avLst/>
            </a:prstGeom>
            <a:solidFill>
              <a:srgbClr val="0067B3">
                <a:alpha val="87843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chemeClr val="bg1"/>
                  </a:solidFill>
                  <a:latin typeface="+mj-lt"/>
                </a:rPr>
                <a:t> 6%</a:t>
              </a: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6870635" y="2494412"/>
            <a:ext cx="4591874" cy="494956"/>
            <a:chOff x="6783862" y="5994201"/>
            <a:chExt cx="4591874" cy="494956"/>
          </a:xfrm>
        </p:grpSpPr>
        <p:sp>
          <p:nvSpPr>
            <p:cNvPr id="94" name="TextBox 93"/>
            <p:cNvSpPr txBox="1"/>
            <p:nvPr/>
          </p:nvSpPr>
          <p:spPr>
            <a:xfrm>
              <a:off x="8154840" y="6040529"/>
              <a:ext cx="322089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>
                <a:defRPr sz="2000">
                  <a:latin typeface="DIN Offc" panose="020B0504020101020102" pitchFamily="34" charset="0"/>
                </a:defRPr>
              </a:lvl1pPr>
            </a:lstStyle>
            <a:p>
              <a:r>
                <a:rPr lang="en-US" sz="1800">
                  <a:latin typeface="+mj-lt"/>
                </a:rPr>
                <a:t>BUILDING MATERIALS</a:t>
              </a:r>
            </a:p>
          </p:txBody>
        </p:sp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3041" y="6057669"/>
              <a:ext cx="424662" cy="357780"/>
            </a:xfrm>
            <a:prstGeom prst="rect">
              <a:avLst/>
            </a:prstGeom>
          </p:spPr>
        </p:pic>
        <p:sp>
          <p:nvSpPr>
            <p:cNvPr id="99" name="Rectangle 98"/>
            <p:cNvSpPr/>
            <p:nvPr/>
          </p:nvSpPr>
          <p:spPr bwMode="auto">
            <a:xfrm>
              <a:off x="6783862" y="5994201"/>
              <a:ext cx="548456" cy="494956"/>
            </a:xfrm>
            <a:prstGeom prst="rect">
              <a:avLst/>
            </a:prstGeom>
            <a:solidFill>
              <a:srgbClr val="0067B3">
                <a:alpha val="87843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chemeClr val="bg1"/>
                  </a:solidFill>
                  <a:latin typeface="+mj-lt"/>
                </a:rPr>
                <a:t> 9%</a:t>
              </a:r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6870635" y="5483477"/>
            <a:ext cx="4215021" cy="494956"/>
            <a:chOff x="6783862" y="3602952"/>
            <a:chExt cx="4215021" cy="494956"/>
          </a:xfrm>
        </p:grpSpPr>
        <p:sp>
          <p:nvSpPr>
            <p:cNvPr id="90" name="TextBox 89"/>
            <p:cNvSpPr txBox="1"/>
            <p:nvPr/>
          </p:nvSpPr>
          <p:spPr>
            <a:xfrm>
              <a:off x="8154840" y="3645314"/>
              <a:ext cx="284404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>
                <a:defRPr sz="2000">
                  <a:latin typeface="DIN Offc" panose="020B0504020101020102" pitchFamily="34" charset="0"/>
                </a:defRPr>
              </a:lvl1pPr>
            </a:lstStyle>
            <a:p>
              <a:r>
                <a:rPr lang="en-US" sz="1800">
                  <a:latin typeface="+mj-lt"/>
                </a:rPr>
                <a:t>PCC AND PULP &amp; PAPER</a:t>
              </a:r>
            </a:p>
          </p:txBody>
        </p: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89781" y="3670009"/>
              <a:ext cx="491182" cy="353040"/>
            </a:xfrm>
            <a:prstGeom prst="rect">
              <a:avLst/>
            </a:prstGeom>
          </p:spPr>
        </p:pic>
        <p:sp>
          <p:nvSpPr>
            <p:cNvPr id="100" name="Rectangle 99"/>
            <p:cNvSpPr/>
            <p:nvPr/>
          </p:nvSpPr>
          <p:spPr bwMode="auto">
            <a:xfrm>
              <a:off x="6783862" y="3602952"/>
              <a:ext cx="548456" cy="494956"/>
            </a:xfrm>
            <a:prstGeom prst="rect">
              <a:avLst/>
            </a:prstGeom>
            <a:solidFill>
              <a:srgbClr val="0067B3">
                <a:alpha val="87843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chemeClr val="bg1"/>
                  </a:solidFill>
                  <a:latin typeface="+mj-lt"/>
                </a:rPr>
                <a:t> 4%</a:t>
              </a:r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89A647-3862-5316-6D90-64E182102F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BE" dirty="0"/>
              <a:t>MARKETS</a:t>
            </a:r>
            <a:endParaRPr lang="en-BE" dirty="0"/>
          </a:p>
        </p:txBody>
      </p:sp>
    </p:spTree>
    <p:extLst>
      <p:ext uri="{BB962C8B-B14F-4D97-AF65-F5344CB8AC3E}">
        <p14:creationId xmlns:p14="http://schemas.microsoft.com/office/powerpoint/2010/main" val="9941065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9C2F4C-E698-A724-9C46-4B13A742760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>
                <a:ea typeface="+mn-lt"/>
                <a:cs typeface="+mn-lt"/>
              </a:rPr>
              <a:t>VIACALCO – Poor rated soils can be transformed into part of embankments, replacing aggregates solution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E7E31CF-9A70-BF4F-A692-049A8F6FED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6210" y="676811"/>
            <a:ext cx="10540590" cy="523220"/>
          </a:xfrm>
        </p:spPr>
        <p:txBody>
          <a:bodyPr lIns="91440" tIns="45720" rIns="91440" bIns="45720" anchor="t" anchorCtr="0">
            <a:spAutoFit/>
          </a:bodyPr>
          <a:lstStyle/>
          <a:p>
            <a:r>
              <a:rPr lang="en-US" dirty="0">
                <a:ea typeface="+mn-lt"/>
                <a:cs typeface="+mn-lt"/>
              </a:rPr>
              <a:t>MARGINAL SOILS</a:t>
            </a:r>
            <a:r>
              <a:rPr lang="hu-HU" dirty="0">
                <a:ea typeface="+mn-lt"/>
                <a:cs typeface="+mn-lt"/>
              </a:rPr>
              <a:t> -</a:t>
            </a:r>
            <a:r>
              <a:rPr lang="en-US" dirty="0">
                <a:ea typeface="+mn-lt"/>
                <a:cs typeface="+mn-lt"/>
              </a:rPr>
              <a:t> a major challenge</a:t>
            </a:r>
            <a:endParaRPr lang="en-US" b="0" dirty="0">
              <a:ea typeface="+mn-lt"/>
              <a:cs typeface="+mn-lt"/>
            </a:endParaRPr>
          </a:p>
        </p:txBody>
      </p:sp>
      <p:pic>
        <p:nvPicPr>
          <p:cNvPr id="7" name="Picture 21" descr="camion3VN">
            <a:extLst>
              <a:ext uri="{FF2B5EF4-FFF2-40B4-BE49-F238E27FC236}">
                <a16:creationId xmlns:a16="http://schemas.microsoft.com/office/drawing/2014/main" id="{4D60D30C-FC35-1D4A-D82D-956F7AB7B9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226" y="2100603"/>
            <a:ext cx="2539814" cy="3379674"/>
          </a:xfrm>
          <a:prstGeom prst="rect">
            <a:avLst/>
          </a:prstGeom>
          <a:noFill/>
          <a:ln w="2540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D29D24A5-8692-B59B-16EB-2D5A925963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59727323"/>
              </p:ext>
            </p:extLst>
          </p:nvPr>
        </p:nvGraphicFramePr>
        <p:xfrm>
          <a:off x="4102138" y="1854594"/>
          <a:ext cx="7090636" cy="3796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Arrow: Curved Down 5">
            <a:extLst>
              <a:ext uri="{FF2B5EF4-FFF2-40B4-BE49-F238E27FC236}">
                <a16:creationId xmlns:a16="http://schemas.microsoft.com/office/drawing/2014/main" id="{63923BEF-ADD4-A574-8A6A-9DD65037D786}"/>
              </a:ext>
            </a:extLst>
          </p:cNvPr>
          <p:cNvSpPr/>
          <p:nvPr/>
        </p:nvSpPr>
        <p:spPr>
          <a:xfrm rot="448353">
            <a:off x="6835605" y="1675890"/>
            <a:ext cx="1623701" cy="495499"/>
          </a:xfrm>
          <a:prstGeom prst="curvedDownArrow">
            <a:avLst>
              <a:gd name="adj1" fmla="val 25000"/>
              <a:gd name="adj2" fmla="val 74339"/>
              <a:gd name="adj3" fmla="val 3017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47995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7"/>
          </p:nvPr>
        </p:nvSpPr>
        <p:spPr/>
        <p:txBody>
          <a:bodyPr>
            <a:normAutofit/>
          </a:bodyPr>
          <a:lstStyle/>
          <a:p>
            <a:r>
              <a:rPr lang="en-US" sz="1600" dirty="0"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latin typeface="DIN Offc" panose="020B0504020101020102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Positioning soil treatment versus aggregat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ARTHWORKS</a:t>
            </a:r>
            <a:r>
              <a:rPr lang="hu-HU" dirty="0"/>
              <a:t> - </a:t>
            </a:r>
            <a:r>
              <a:rPr lang="en-US" dirty="0"/>
              <a:t>a challenge for designers &amp; investors</a:t>
            </a:r>
          </a:p>
        </p:txBody>
      </p:sp>
      <p:pic>
        <p:nvPicPr>
          <p:cNvPr id="6" name="Picture 8" descr="Image associée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0149" y="3245169"/>
            <a:ext cx="2317704" cy="1856009"/>
          </a:xfrm>
          <a:prstGeom prst="rect">
            <a:avLst/>
          </a:prstGeom>
          <a:noFill/>
        </p:spPr>
      </p:pic>
      <p:pic>
        <p:nvPicPr>
          <p:cNvPr id="7" name="Picture 4" descr="https://upload.wikimedia.org/wikipedia/commons/thumb/e/e6/10mm-aggregate.jpg/220px-10mm-aggregate.jpg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5501" y="3085988"/>
            <a:ext cx="2793487" cy="2095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7094441" y="5253733"/>
            <a:ext cx="32703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Reuse of in-situ soil with binder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194561" y="5253733"/>
            <a:ext cx="26996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Use of quarry-aggregates</a:t>
            </a:r>
            <a:r>
              <a:rPr lang="en-US" sz="1600" b="1" dirty="0"/>
              <a:t>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100724" y="2131881"/>
            <a:ext cx="279348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2800" b="1" dirty="0">
                <a:solidFill>
                  <a:schemeClr val="accent2"/>
                </a:solidFill>
              </a:rPr>
              <a:t>TRADITIONAL</a:t>
            </a:r>
          </a:p>
          <a:p>
            <a:pPr algn="ctr"/>
            <a:r>
              <a:rPr lang="fr-BE" sz="2800" b="1" dirty="0">
                <a:solidFill>
                  <a:schemeClr val="accent2"/>
                </a:solidFill>
              </a:rPr>
              <a:t>METHOD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069275" y="2138508"/>
            <a:ext cx="311975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2800" b="1" dirty="0">
                <a:solidFill>
                  <a:schemeClr val="accent2"/>
                </a:solidFill>
              </a:rPr>
              <a:t>SOIL </a:t>
            </a:r>
          </a:p>
          <a:p>
            <a:pPr algn="ctr"/>
            <a:r>
              <a:rPr lang="fr-BE" sz="2800" b="1" dirty="0">
                <a:solidFill>
                  <a:schemeClr val="accent2"/>
                </a:solidFill>
              </a:rPr>
              <a:t>TREATMENT</a:t>
            </a:r>
          </a:p>
        </p:txBody>
      </p:sp>
      <p:sp>
        <p:nvSpPr>
          <p:cNvPr id="12" name="Left-Right Arrow 11"/>
          <p:cNvSpPr/>
          <p:nvPr/>
        </p:nvSpPr>
        <p:spPr bwMode="auto">
          <a:xfrm>
            <a:off x="5177019" y="3671130"/>
            <a:ext cx="1512168" cy="792088"/>
          </a:xfrm>
          <a:prstGeom prst="left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1956707" y="2131881"/>
            <a:ext cx="3096344" cy="3654963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6853250" y="2138509"/>
            <a:ext cx="3511503" cy="3648336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83952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27"/>
          </p:nvPr>
        </p:nvSpPr>
        <p:spPr>
          <a:xfrm>
            <a:off x="171451" y="119"/>
            <a:ext cx="11537949" cy="338651"/>
          </a:xfrm>
        </p:spPr>
        <p:txBody>
          <a:bodyPr/>
          <a:lstStyle/>
          <a:p>
            <a:r>
              <a:rPr lang="en-US" sz="1600" dirty="0">
                <a:effectLst/>
                <a:latin typeface="DIN Offc" panose="020B0504020101020102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 look on Geotechnics</a:t>
            </a:r>
            <a:endParaRPr lang="en-US" dirty="0">
              <a:latin typeface="DIN Offc" panose="020B0504020101020102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04" r="54777"/>
          <a:stretch/>
        </p:blipFill>
        <p:spPr bwMode="auto">
          <a:xfrm>
            <a:off x="4007768" y="1169824"/>
            <a:ext cx="1757548" cy="1090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06" r="-154"/>
          <a:stretch/>
        </p:blipFill>
        <p:spPr bwMode="auto">
          <a:xfrm>
            <a:off x="7093015" y="1169824"/>
            <a:ext cx="2042846" cy="1090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Freeform 8"/>
          <p:cNvSpPr/>
          <p:nvPr/>
        </p:nvSpPr>
        <p:spPr bwMode="auto">
          <a:xfrm>
            <a:off x="2999656" y="1163535"/>
            <a:ext cx="6151418" cy="1063932"/>
          </a:xfrm>
          <a:custGeom>
            <a:avLst/>
            <a:gdLst>
              <a:gd name="connsiteX0" fmla="*/ 0 w 6151418"/>
              <a:gd name="connsiteY0" fmla="*/ 559785 h 1063932"/>
              <a:gd name="connsiteX1" fmla="*/ 463138 w 6151418"/>
              <a:gd name="connsiteY1" fmla="*/ 13520 h 1063932"/>
              <a:gd name="connsiteX2" fmla="*/ 1674421 w 6151418"/>
              <a:gd name="connsiteY2" fmla="*/ 1058549 h 1063932"/>
              <a:gd name="connsiteX3" fmla="*/ 3301341 w 6151418"/>
              <a:gd name="connsiteY3" fmla="*/ 441032 h 1063932"/>
              <a:gd name="connsiteX4" fmla="*/ 4916385 w 6151418"/>
              <a:gd name="connsiteY4" fmla="*/ 880419 h 1063932"/>
              <a:gd name="connsiteX5" fmla="*/ 6151418 w 6151418"/>
              <a:gd name="connsiteY5" fmla="*/ 666663 h 1063932"/>
              <a:gd name="connsiteX6" fmla="*/ 6151418 w 6151418"/>
              <a:gd name="connsiteY6" fmla="*/ 666663 h 1063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51418" h="1063932">
                <a:moveTo>
                  <a:pt x="0" y="559785"/>
                </a:moveTo>
                <a:cubicBezTo>
                  <a:pt x="92034" y="245089"/>
                  <a:pt x="184068" y="-69607"/>
                  <a:pt x="463138" y="13520"/>
                </a:cubicBezTo>
                <a:cubicBezTo>
                  <a:pt x="742208" y="96647"/>
                  <a:pt x="1201387" y="987297"/>
                  <a:pt x="1674421" y="1058549"/>
                </a:cubicBezTo>
                <a:cubicBezTo>
                  <a:pt x="2147455" y="1129801"/>
                  <a:pt x="2761014" y="470720"/>
                  <a:pt x="3301341" y="441032"/>
                </a:cubicBezTo>
                <a:cubicBezTo>
                  <a:pt x="3841668" y="411344"/>
                  <a:pt x="4441372" y="842814"/>
                  <a:pt x="4916385" y="880419"/>
                </a:cubicBezTo>
                <a:cubicBezTo>
                  <a:pt x="5391398" y="918024"/>
                  <a:pt x="6151418" y="666663"/>
                  <a:pt x="6151418" y="666663"/>
                </a:cubicBezTo>
                <a:lnTo>
                  <a:pt x="6151418" y="666663"/>
                </a:lnTo>
              </a:path>
            </a:pathLst>
          </a:cu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BE" sz="2400">
              <a:latin typeface="Tahoma" pitchFamily="34" charset="0"/>
            </a:endParaRPr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2495600" y="1724924"/>
            <a:ext cx="7272808" cy="114399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Line Callout 1 (Border and Accent Bar) 10"/>
          <p:cNvSpPr/>
          <p:nvPr/>
        </p:nvSpPr>
        <p:spPr bwMode="auto">
          <a:xfrm>
            <a:off x="3738914" y="685055"/>
            <a:ext cx="1132951" cy="305622"/>
          </a:xfrm>
          <a:prstGeom prst="accentBorderCallout1">
            <a:avLst>
              <a:gd name="adj1" fmla="val 18750"/>
              <a:gd name="adj2" fmla="val -8333"/>
              <a:gd name="adj3" fmla="val 147470"/>
              <a:gd name="adj4" fmla="val -37748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Tahoma" pitchFamily="34" charset="0"/>
              </a:rPr>
              <a:t>Landscaping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968"/>
          <a:stretch/>
        </p:blipFill>
        <p:spPr bwMode="auto">
          <a:xfrm>
            <a:off x="2999657" y="1169824"/>
            <a:ext cx="1049069" cy="1090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52" r="31649"/>
          <a:stretch/>
        </p:blipFill>
        <p:spPr bwMode="auto">
          <a:xfrm>
            <a:off x="5691704" y="1169824"/>
            <a:ext cx="1484416" cy="1090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5165091" y="2327837"/>
            <a:ext cx="4443848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Identification of railway-track or road</a:t>
            </a:r>
          </a:p>
          <a:p>
            <a:pPr marL="342900" indent="-342900">
              <a:buAutoNum type="arabicPeriod"/>
            </a:pPr>
            <a:r>
              <a:rPr lang="en-US" dirty="0"/>
              <a:t>Identification of overburden</a:t>
            </a:r>
          </a:p>
          <a:p>
            <a:pPr marL="342900" indent="-342900">
              <a:buAutoNum type="arabicPeriod"/>
            </a:pPr>
            <a:r>
              <a:rPr lang="en-US" dirty="0"/>
              <a:t>Removal of soil = LANDFILLING</a:t>
            </a:r>
          </a:p>
          <a:p>
            <a:pPr marL="342900" indent="-342900">
              <a:buAutoNum type="arabicPeriod"/>
            </a:pPr>
            <a:r>
              <a:rPr lang="en-US" dirty="0"/>
              <a:t>Purchase of aggregates</a:t>
            </a:r>
          </a:p>
          <a:p>
            <a:pPr marL="342900" indent="-342900">
              <a:buAutoNum type="arabicPeriod"/>
            </a:pPr>
            <a:r>
              <a:rPr lang="en-US" dirty="0"/>
              <a:t>Transport aggregates + compaction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5691704" y="1037220"/>
            <a:ext cx="1579953" cy="72445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BE" sz="2400">
              <a:latin typeface="Tahoma" pitchFamily="34" charset="0"/>
            </a:endParaRPr>
          </a:p>
        </p:txBody>
      </p:sp>
      <p:sp>
        <p:nvSpPr>
          <p:cNvPr id="17" name="Freeform 16"/>
          <p:cNvSpPr/>
          <p:nvPr/>
        </p:nvSpPr>
        <p:spPr bwMode="auto">
          <a:xfrm>
            <a:off x="8257054" y="562133"/>
            <a:ext cx="1871395" cy="1042369"/>
          </a:xfrm>
          <a:custGeom>
            <a:avLst/>
            <a:gdLst>
              <a:gd name="connsiteX0" fmla="*/ 0 w 1080655"/>
              <a:gd name="connsiteY0" fmla="*/ 776152 h 809579"/>
              <a:gd name="connsiteX1" fmla="*/ 261257 w 1080655"/>
              <a:gd name="connsiteY1" fmla="*/ 39882 h 809579"/>
              <a:gd name="connsiteX2" fmla="*/ 831273 w 1080655"/>
              <a:gd name="connsiteY2" fmla="*/ 158635 h 809579"/>
              <a:gd name="connsiteX3" fmla="*/ 1045029 w 1080655"/>
              <a:gd name="connsiteY3" fmla="*/ 669274 h 809579"/>
              <a:gd name="connsiteX4" fmla="*/ 1056904 w 1080655"/>
              <a:gd name="connsiteY4" fmla="*/ 799903 h 809579"/>
              <a:gd name="connsiteX5" fmla="*/ 1080655 w 1080655"/>
              <a:gd name="connsiteY5" fmla="*/ 799903 h 809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0655" h="809579">
                <a:moveTo>
                  <a:pt x="0" y="776152"/>
                </a:moveTo>
                <a:cubicBezTo>
                  <a:pt x="61356" y="459476"/>
                  <a:pt x="122712" y="142801"/>
                  <a:pt x="261257" y="39882"/>
                </a:cubicBezTo>
                <a:cubicBezTo>
                  <a:pt x="399802" y="-63037"/>
                  <a:pt x="700644" y="53736"/>
                  <a:pt x="831273" y="158635"/>
                </a:cubicBezTo>
                <a:cubicBezTo>
                  <a:pt x="961902" y="263534"/>
                  <a:pt x="1007424" y="562396"/>
                  <a:pt x="1045029" y="669274"/>
                </a:cubicBezTo>
                <a:cubicBezTo>
                  <a:pt x="1082634" y="776152"/>
                  <a:pt x="1050966" y="778132"/>
                  <a:pt x="1056904" y="799903"/>
                </a:cubicBezTo>
                <a:cubicBezTo>
                  <a:pt x="1062842" y="821675"/>
                  <a:pt x="1080655" y="799903"/>
                  <a:pt x="1080655" y="799903"/>
                </a:cubicBezTo>
              </a:path>
            </a:pathLst>
          </a:custGeom>
          <a:solidFill>
            <a:schemeClr val="accent5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BE" sz="2400">
              <a:latin typeface="Tahoma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500588" y="1155038"/>
            <a:ext cx="13276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Landfilling</a:t>
            </a:r>
          </a:p>
        </p:txBody>
      </p:sp>
      <p:sp>
        <p:nvSpPr>
          <p:cNvPr id="19" name="Freeform 18"/>
          <p:cNvSpPr/>
          <p:nvPr/>
        </p:nvSpPr>
        <p:spPr bwMode="auto">
          <a:xfrm>
            <a:off x="1767309" y="2051926"/>
            <a:ext cx="1512168" cy="1211362"/>
          </a:xfrm>
          <a:custGeom>
            <a:avLst/>
            <a:gdLst>
              <a:gd name="connsiteX0" fmla="*/ 0 w 1080655"/>
              <a:gd name="connsiteY0" fmla="*/ 776152 h 809579"/>
              <a:gd name="connsiteX1" fmla="*/ 261257 w 1080655"/>
              <a:gd name="connsiteY1" fmla="*/ 39882 h 809579"/>
              <a:gd name="connsiteX2" fmla="*/ 831273 w 1080655"/>
              <a:gd name="connsiteY2" fmla="*/ 158635 h 809579"/>
              <a:gd name="connsiteX3" fmla="*/ 1045029 w 1080655"/>
              <a:gd name="connsiteY3" fmla="*/ 669274 h 809579"/>
              <a:gd name="connsiteX4" fmla="*/ 1056904 w 1080655"/>
              <a:gd name="connsiteY4" fmla="*/ 799903 h 809579"/>
              <a:gd name="connsiteX5" fmla="*/ 1080655 w 1080655"/>
              <a:gd name="connsiteY5" fmla="*/ 799903 h 809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80655" h="809579">
                <a:moveTo>
                  <a:pt x="0" y="776152"/>
                </a:moveTo>
                <a:cubicBezTo>
                  <a:pt x="61356" y="459476"/>
                  <a:pt x="122712" y="142801"/>
                  <a:pt x="261257" y="39882"/>
                </a:cubicBezTo>
                <a:cubicBezTo>
                  <a:pt x="399802" y="-63037"/>
                  <a:pt x="700644" y="53736"/>
                  <a:pt x="831273" y="158635"/>
                </a:cubicBezTo>
                <a:cubicBezTo>
                  <a:pt x="961902" y="263534"/>
                  <a:pt x="1007424" y="562396"/>
                  <a:pt x="1045029" y="669274"/>
                </a:cubicBezTo>
                <a:cubicBezTo>
                  <a:pt x="1082634" y="776152"/>
                  <a:pt x="1050966" y="778132"/>
                  <a:pt x="1056904" y="799903"/>
                </a:cubicBezTo>
                <a:cubicBezTo>
                  <a:pt x="1062842" y="821675"/>
                  <a:pt x="1080655" y="799903"/>
                  <a:pt x="1080655" y="799903"/>
                </a:cubicBezTo>
              </a:path>
            </a:pathLst>
          </a:custGeom>
          <a:solidFill>
            <a:schemeClr val="bg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BE" sz="2400">
              <a:latin typeface="Tahoma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783859" y="2728739"/>
            <a:ext cx="12277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1400" b="1" dirty="0" err="1">
                <a:solidFill>
                  <a:schemeClr val="bg1"/>
                </a:solidFill>
              </a:rPr>
              <a:t>Quarry</a:t>
            </a:r>
            <a:endParaRPr lang="fr-BE" sz="1400" b="1" dirty="0">
              <a:solidFill>
                <a:schemeClr val="bg1"/>
              </a:solidFill>
            </a:endParaRPr>
          </a:p>
        </p:txBody>
      </p:sp>
      <p:sp>
        <p:nvSpPr>
          <p:cNvPr id="21" name="Slide Number Placeholder 3"/>
          <p:cNvSpPr txBox="1">
            <a:spLocks/>
          </p:cNvSpPr>
          <p:nvPr/>
        </p:nvSpPr>
        <p:spPr>
          <a:xfrm>
            <a:off x="7824789" y="6219377"/>
            <a:ext cx="9350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B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endParaRPr lang="fr-BE" dirty="0"/>
          </a:p>
        </p:txBody>
      </p:sp>
      <p:pic>
        <p:nvPicPr>
          <p:cNvPr id="22" name="Kép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0788" y="6260477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Kép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1501" y="6255714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Kép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4272" y="6263652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Kép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01" y="6263652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Kép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6177" y="6263652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Kép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8476" y="6255714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Kép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0348" y="6283218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Kép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061" y="6278455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Kép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9073" y="6286393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Kép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2962" y="6286393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Kép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5737" y="6286393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Kép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8036" y="6278455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Kép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2368" y="5756421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Kép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3081" y="5751658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Kép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1093" y="5759596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Kép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4982" y="5759596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Kép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7757" y="5759596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Kép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0056" y="5751658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Kép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0348" y="5756421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Kép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061" y="5751658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Kép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9073" y="5759596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Kép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2962" y="5759596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Kép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5737" y="5759596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Kép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8036" y="5751658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Kép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3948" y="5324373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Kép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4661" y="5319610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Kép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2673" y="5327548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Kép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6562" y="5327548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Kép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9337" y="5327548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Kép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1636" y="5319610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Kép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1928" y="5324373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Kép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2641" y="5319610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Kép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0653" y="5327548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Kép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542" y="5327548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Kép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7317" y="5327548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Kép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9616" y="5319610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5" descr="http://www.euroslag.com/uploads/pics/Products_12.jpg">
            <a:hlinkClick r:id="rId6"/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276"/>
          <a:stretch/>
        </p:blipFill>
        <p:spPr bwMode="auto">
          <a:xfrm>
            <a:off x="3639410" y="2626989"/>
            <a:ext cx="1216390" cy="946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Kép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4376" y="4855565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Kép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5089" y="4850802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Kép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6280" y="4858740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Kép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6990" y="4858740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Kép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9765" y="4858740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Kép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2064" y="4850802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Kép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3936" y="4878306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Kép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0361" y="4892198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Kép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2661" y="4881481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Kép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6550" y="4881481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Kép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9325" y="4881481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Kép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624" y="4873543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" name="Kép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5956" y="4351509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Kép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6669" y="4346746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Kép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4681" y="4354684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Kép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8570" y="4354684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Kép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1345" y="4354684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Kép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3644" y="4346746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Kép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3936" y="4351509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Kép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4649" y="4346746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Kép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2661" y="4354684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Kép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6550" y="4354684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" name="Kép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9325" y="4354684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" name="Kép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624" y="4346746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Kép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7536" y="3919461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Kép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8249" y="3914698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Kép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261" y="3922636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" name="Kép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0150" y="3922636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" name="Kép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2925" y="3922636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" name="Kép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5224" y="3914698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" name="Kép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5516" y="3919461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0" name="Kép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6229" y="3914698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" name="Kép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4241" y="3922636"/>
            <a:ext cx="6477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" name="Kép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8130" y="3922636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3" name="Kép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0905" y="3922636"/>
            <a:ext cx="649287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" name="Kép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3204" y="3914698"/>
            <a:ext cx="6477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5" name="Rectangle 94"/>
          <p:cNvSpPr/>
          <p:nvPr/>
        </p:nvSpPr>
        <p:spPr bwMode="auto">
          <a:xfrm>
            <a:off x="1416747" y="1915552"/>
            <a:ext cx="1924288" cy="150123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BE" sz="2400">
              <a:latin typeface="Tahoma" pitchFamily="34" charset="0"/>
            </a:endParaRPr>
          </a:p>
        </p:txBody>
      </p:sp>
      <p:cxnSp>
        <p:nvCxnSpPr>
          <p:cNvPr id="96" name="Straight Connector 95"/>
          <p:cNvCxnSpPr/>
          <p:nvPr/>
        </p:nvCxnSpPr>
        <p:spPr bwMode="auto">
          <a:xfrm>
            <a:off x="4151784" y="1865557"/>
            <a:ext cx="1399682" cy="1868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7" name="Straight Connector 96"/>
          <p:cNvCxnSpPr/>
          <p:nvPr/>
        </p:nvCxnSpPr>
        <p:spPr bwMode="auto">
          <a:xfrm>
            <a:off x="4289488" y="2009572"/>
            <a:ext cx="101511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8" name="Straight Connector 97"/>
          <p:cNvCxnSpPr/>
          <p:nvPr/>
        </p:nvCxnSpPr>
        <p:spPr bwMode="auto">
          <a:xfrm>
            <a:off x="4464204" y="2153588"/>
            <a:ext cx="576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9" name="Straight Connector 98"/>
          <p:cNvCxnSpPr/>
          <p:nvPr/>
        </p:nvCxnSpPr>
        <p:spPr bwMode="auto">
          <a:xfrm>
            <a:off x="7336487" y="1897648"/>
            <a:ext cx="1476000" cy="1868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0" name="Straight Connector 99"/>
          <p:cNvCxnSpPr/>
          <p:nvPr/>
        </p:nvCxnSpPr>
        <p:spPr bwMode="auto">
          <a:xfrm>
            <a:off x="7685026" y="1996038"/>
            <a:ext cx="750514" cy="1353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23915B2-1E8D-5F4B-F205-D082322D8A9D}"/>
              </a:ext>
            </a:extLst>
          </p:cNvPr>
          <p:cNvSpPr/>
          <p:nvPr/>
        </p:nvSpPr>
        <p:spPr bwMode="auto">
          <a:xfrm>
            <a:off x="2426678" y="1162314"/>
            <a:ext cx="1606601" cy="84996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BE" sz="2400">
              <a:latin typeface="Tahoma" pitchFamily="34" charset="0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17A7A787-634E-FB3E-5C48-494A750505CD}"/>
              </a:ext>
            </a:extLst>
          </p:cNvPr>
          <p:cNvSpPr/>
          <p:nvPr/>
        </p:nvSpPr>
        <p:spPr bwMode="auto">
          <a:xfrm>
            <a:off x="2059703" y="650069"/>
            <a:ext cx="1606601" cy="84996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BE" sz="2400">
              <a:latin typeface="Tahoma" pitchFamily="34" charset="0"/>
            </a:endParaRP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0CD613E-BCCB-65B4-9172-EF3047095625}"/>
              </a:ext>
            </a:extLst>
          </p:cNvPr>
          <p:cNvSpPr txBox="1">
            <a:spLocks/>
          </p:cNvSpPr>
          <p:nvPr/>
        </p:nvSpPr>
        <p:spPr>
          <a:xfrm>
            <a:off x="495021" y="728174"/>
            <a:ext cx="10540590" cy="954107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dirty="0"/>
              <a:t>TRADITIONAL </a:t>
            </a:r>
            <a:br>
              <a:rPr lang="hu-HU" dirty="0"/>
            </a:br>
            <a:r>
              <a:rPr lang="fr-BE" dirty="0"/>
              <a:t>METHO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11823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16" presetClass="exit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3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2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4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4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2" presetClass="entr" presetSubtype="8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8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2" presetClass="entr" presetSubtype="8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" presetClass="entr" presetSubtype="8" fill="hold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2600"/>
                            </p:stCondLst>
                            <p:childTnLst>
                              <p:par>
                                <p:cTn id="7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3100"/>
                            </p:stCondLst>
                            <p:childTnLst>
                              <p:par>
                                <p:cTn id="8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3600"/>
                            </p:stCondLst>
                            <p:childTnLst>
                              <p:par>
                                <p:cTn id="8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4100"/>
                            </p:stCondLst>
                            <p:childTnLst>
                              <p:par>
                                <p:cTn id="9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4600"/>
                            </p:stCondLst>
                            <p:childTnLst>
                              <p:par>
                                <p:cTn id="9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5100"/>
                            </p:stCondLst>
                            <p:childTnLst>
                              <p:par>
                                <p:cTn id="10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5600"/>
                            </p:stCondLst>
                            <p:childTnLst>
                              <p:par>
                                <p:cTn id="10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6100"/>
                            </p:stCondLst>
                            <p:childTnLst>
                              <p:par>
                                <p:cTn id="1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6600"/>
                            </p:stCondLst>
                            <p:childTnLst>
                              <p:par>
                                <p:cTn id="1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7100"/>
                            </p:stCondLst>
                            <p:childTnLst>
                              <p:par>
                                <p:cTn id="12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7600"/>
                            </p:stCondLst>
                            <p:childTnLst>
                              <p:par>
                                <p:cTn id="12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8100"/>
                            </p:stCondLst>
                            <p:childTnLst>
                              <p:par>
                                <p:cTn id="13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>
                            <p:stCondLst>
                              <p:cond delay="8600"/>
                            </p:stCondLst>
                            <p:childTnLst>
                              <p:par>
                                <p:cTn id="13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9100"/>
                            </p:stCondLst>
                            <p:childTnLst>
                              <p:par>
                                <p:cTn id="14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9600"/>
                            </p:stCondLst>
                            <p:childTnLst>
                              <p:par>
                                <p:cTn id="14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9" fill="hold">
                            <p:stCondLst>
                              <p:cond delay="10100"/>
                            </p:stCondLst>
                            <p:childTnLst>
                              <p:par>
                                <p:cTn id="15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4" fill="hold">
                            <p:stCondLst>
                              <p:cond delay="10600"/>
                            </p:stCondLst>
                            <p:childTnLst>
                              <p:par>
                                <p:cTn id="15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9" fill="hold">
                            <p:stCondLst>
                              <p:cond delay="11100"/>
                            </p:stCondLst>
                            <p:childTnLst>
                              <p:par>
                                <p:cTn id="16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3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11600"/>
                            </p:stCondLst>
                            <p:childTnLst>
                              <p:par>
                                <p:cTn id="16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9" fill="hold">
                            <p:stCondLst>
                              <p:cond delay="12100"/>
                            </p:stCondLst>
                            <p:childTnLst>
                              <p:par>
                                <p:cTn id="17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4" fill="hold">
                            <p:stCondLst>
                              <p:cond delay="12600"/>
                            </p:stCondLst>
                            <p:childTnLst>
                              <p:par>
                                <p:cTn id="17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9" fill="hold">
                            <p:stCondLst>
                              <p:cond delay="13100"/>
                            </p:stCondLst>
                            <p:childTnLst>
                              <p:par>
                                <p:cTn id="18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4" fill="hold">
                            <p:stCondLst>
                              <p:cond delay="13600"/>
                            </p:stCondLst>
                            <p:childTnLst>
                              <p:par>
                                <p:cTn id="18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9" fill="hold">
                            <p:stCondLst>
                              <p:cond delay="14100"/>
                            </p:stCondLst>
                            <p:childTnLst>
                              <p:par>
                                <p:cTn id="19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4" fill="hold">
                            <p:stCondLst>
                              <p:cond delay="14600"/>
                            </p:stCondLst>
                            <p:childTnLst>
                              <p:par>
                                <p:cTn id="19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9" fill="hold">
                            <p:stCondLst>
                              <p:cond delay="15100"/>
                            </p:stCondLst>
                            <p:childTnLst>
                              <p:par>
                                <p:cTn id="20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4" fill="hold">
                            <p:stCondLst>
                              <p:cond delay="15600"/>
                            </p:stCondLst>
                            <p:childTnLst>
                              <p:par>
                                <p:cTn id="20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9" fill="hold">
                            <p:stCondLst>
                              <p:cond delay="16100"/>
                            </p:stCondLst>
                            <p:childTnLst>
                              <p:par>
                                <p:cTn id="2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2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3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4" fill="hold">
                            <p:stCondLst>
                              <p:cond delay="16600"/>
                            </p:stCondLst>
                            <p:childTnLst>
                              <p:par>
                                <p:cTn id="2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9" fill="hold">
                            <p:stCondLst>
                              <p:cond delay="17100"/>
                            </p:stCondLst>
                            <p:childTnLst>
                              <p:par>
                                <p:cTn id="22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2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3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4" fill="hold">
                      <p:stCondLst>
                        <p:cond delay="indefinite"/>
                      </p:stCondLst>
                      <p:childTnLst>
                        <p:par>
                          <p:cTn id="225" fill="hold">
                            <p:stCondLst>
                              <p:cond delay="0"/>
                            </p:stCondLst>
                            <p:childTnLst>
                              <p:par>
                                <p:cTn id="2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8" dur="1000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9" dur="1000" fill="hold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0" dur="1000" fill="hold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4" presetID="2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3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7" fill="hold">
                      <p:stCondLst>
                        <p:cond delay="indefinite"/>
                      </p:stCondLst>
                      <p:childTnLst>
                        <p:par>
                          <p:cTn id="238" fill="hold">
                            <p:stCondLst>
                              <p:cond delay="0"/>
                            </p:stCondLst>
                            <p:childTnLst>
                              <p:par>
                                <p:cTn id="2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1" dur="10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2" dur="1000" fill="hold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3" dur="1000" fill="hold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6" dur="2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9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0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1" fill="hold">
                            <p:stCondLst>
                              <p:cond delay="2200"/>
                            </p:stCondLst>
                            <p:childTnLst>
                              <p:par>
                                <p:cTn id="252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4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6" fill="hold">
                            <p:stCondLst>
                              <p:cond delay="2700"/>
                            </p:stCondLst>
                            <p:childTnLst>
                              <p:par>
                                <p:cTn id="257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9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0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1" fill="hold">
                            <p:stCondLst>
                              <p:cond delay="3200"/>
                            </p:stCondLst>
                            <p:childTnLst>
                              <p:par>
                                <p:cTn id="262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5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6" fill="hold">
                            <p:stCondLst>
                              <p:cond delay="3700"/>
                            </p:stCondLst>
                            <p:childTnLst>
                              <p:par>
                                <p:cTn id="267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9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0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1" fill="hold">
                            <p:stCondLst>
                              <p:cond delay="4200"/>
                            </p:stCondLst>
                            <p:childTnLst>
                              <p:par>
                                <p:cTn id="272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4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5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6" fill="hold">
                            <p:stCondLst>
                              <p:cond delay="4700"/>
                            </p:stCondLst>
                            <p:childTnLst>
                              <p:par>
                                <p:cTn id="277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9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0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1" fill="hold">
                            <p:stCondLst>
                              <p:cond delay="5200"/>
                            </p:stCondLst>
                            <p:childTnLst>
                              <p:par>
                                <p:cTn id="282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4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5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6" fill="hold">
                            <p:stCondLst>
                              <p:cond delay="5700"/>
                            </p:stCondLst>
                            <p:childTnLst>
                              <p:par>
                                <p:cTn id="287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9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0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1" fill="hold">
                            <p:stCondLst>
                              <p:cond delay="6200"/>
                            </p:stCondLst>
                            <p:childTnLst>
                              <p:par>
                                <p:cTn id="292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4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5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6" fill="hold">
                            <p:stCondLst>
                              <p:cond delay="6700"/>
                            </p:stCondLst>
                            <p:childTnLst>
                              <p:par>
                                <p:cTn id="297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9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0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1" fill="hold">
                            <p:stCondLst>
                              <p:cond delay="7200"/>
                            </p:stCondLst>
                            <p:childTnLst>
                              <p:par>
                                <p:cTn id="302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4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5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8" dur="18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1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2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3" fill="hold">
                            <p:stCondLst>
                              <p:cond delay="9000"/>
                            </p:stCondLst>
                            <p:childTnLst>
                              <p:par>
                                <p:cTn id="31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6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7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8" fill="hold">
                            <p:stCondLst>
                              <p:cond delay="9500"/>
                            </p:stCondLst>
                            <p:childTnLst>
                              <p:par>
                                <p:cTn id="31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1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2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3" fill="hold">
                            <p:stCondLst>
                              <p:cond delay="10000"/>
                            </p:stCondLst>
                            <p:childTnLst>
                              <p:par>
                                <p:cTn id="32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6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7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8" fill="hold">
                            <p:stCondLst>
                              <p:cond delay="10500"/>
                            </p:stCondLst>
                            <p:childTnLst>
                              <p:par>
                                <p:cTn id="32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3" fill="hold">
                            <p:stCondLst>
                              <p:cond delay="11000"/>
                            </p:stCondLst>
                            <p:childTnLst>
                              <p:par>
                                <p:cTn id="33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6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7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8" fill="hold">
                            <p:stCondLst>
                              <p:cond delay="11500"/>
                            </p:stCondLst>
                            <p:childTnLst>
                              <p:par>
                                <p:cTn id="33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1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2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3" fill="hold">
                            <p:stCondLst>
                              <p:cond delay="12000"/>
                            </p:stCondLst>
                            <p:childTnLst>
                              <p:par>
                                <p:cTn id="34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8" fill="hold">
                            <p:stCondLst>
                              <p:cond delay="12500"/>
                            </p:stCondLst>
                            <p:childTnLst>
                              <p:par>
                                <p:cTn id="34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1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2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3" fill="hold">
                            <p:stCondLst>
                              <p:cond delay="13000"/>
                            </p:stCondLst>
                            <p:childTnLst>
                              <p:par>
                                <p:cTn id="35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6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7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8" fill="hold">
                            <p:stCondLst>
                              <p:cond delay="13500"/>
                            </p:stCondLst>
                            <p:childTnLst>
                              <p:par>
                                <p:cTn id="35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1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2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3" fill="hold">
                            <p:stCondLst>
                              <p:cond delay="14000"/>
                            </p:stCondLst>
                            <p:childTnLst>
                              <p:par>
                                <p:cTn id="36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6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7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8" fill="hold">
                            <p:stCondLst>
                              <p:cond delay="14500"/>
                            </p:stCondLst>
                            <p:childTnLst>
                              <p:par>
                                <p:cTn id="36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1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2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3" fill="hold">
                            <p:stCondLst>
                              <p:cond delay="15000"/>
                            </p:stCondLst>
                            <p:childTnLst>
                              <p:par>
                                <p:cTn id="37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6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7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8" fill="hold">
                            <p:stCondLst>
                              <p:cond delay="15500"/>
                            </p:stCondLst>
                            <p:childTnLst>
                              <p:par>
                                <p:cTn id="37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1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2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3" fill="hold">
                            <p:stCondLst>
                              <p:cond delay="16000"/>
                            </p:stCondLst>
                            <p:childTnLst>
                              <p:par>
                                <p:cTn id="38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6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7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8" fill="hold">
                            <p:stCondLst>
                              <p:cond delay="16500"/>
                            </p:stCondLst>
                            <p:childTnLst>
                              <p:par>
                                <p:cTn id="38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1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2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3" fill="hold">
                            <p:stCondLst>
                              <p:cond delay="17000"/>
                            </p:stCondLst>
                            <p:childTnLst>
                              <p:par>
                                <p:cTn id="39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6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7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8" fill="hold">
                            <p:stCondLst>
                              <p:cond delay="17500"/>
                            </p:stCondLst>
                            <p:childTnLst>
                              <p:par>
                                <p:cTn id="39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1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2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3" fill="hold">
                            <p:stCondLst>
                              <p:cond delay="18000"/>
                            </p:stCondLst>
                            <p:childTnLst>
                              <p:par>
                                <p:cTn id="40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6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8" fill="hold">
                            <p:stCondLst>
                              <p:cond delay="18500"/>
                            </p:stCondLst>
                            <p:childTnLst>
                              <p:par>
                                <p:cTn id="40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1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2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3" fill="hold">
                            <p:stCondLst>
                              <p:cond delay="19000"/>
                            </p:stCondLst>
                            <p:childTnLst>
                              <p:par>
                                <p:cTn id="41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6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7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8" fill="hold">
                            <p:stCondLst>
                              <p:cond delay="19500"/>
                            </p:stCondLst>
                            <p:childTnLst>
                              <p:par>
                                <p:cTn id="41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1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2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3" fill="hold">
                            <p:stCondLst>
                              <p:cond delay="20000"/>
                            </p:stCondLst>
                            <p:childTnLst>
                              <p:par>
                                <p:cTn id="42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6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7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0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3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6" grpId="0" animBg="1"/>
      <p:bldP spid="17" grpId="0" animBg="1"/>
      <p:bldP spid="18" grpId="0"/>
      <p:bldP spid="95" grpId="0" animBg="1"/>
      <p:bldP spid="101" grpId="0" animBg="1"/>
      <p:bldP spid="10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27&quot; g=&quot;C2&quot; b=&quot;23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VXi6bnRnTfqGIwQhu1w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6F68Y2ZwAy6FlGotT_d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FM3xcRGLR1fOeX8iLGi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91scQIbaG30WM.yUas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pORP1Q2w4kaz42p8KF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slide">
  <a:themeElements>
    <a:clrScheme name="Carmeuse Theme Colors">
      <a:dk1>
        <a:srgbClr val="10497C"/>
      </a:dk1>
      <a:lt1>
        <a:srgbClr val="FFFFFF"/>
      </a:lt1>
      <a:dk2>
        <a:srgbClr val="248DC1"/>
      </a:dk2>
      <a:lt2>
        <a:srgbClr val="CFD2D3"/>
      </a:lt2>
      <a:accent1>
        <a:srgbClr val="0067B3"/>
      </a:accent1>
      <a:accent2>
        <a:srgbClr val="31B4E6"/>
      </a:accent2>
      <a:accent3>
        <a:srgbClr val="323E48"/>
      </a:accent3>
      <a:accent4>
        <a:srgbClr val="1D252C"/>
      </a:accent4>
      <a:accent5>
        <a:srgbClr val="F58420"/>
      </a:accent5>
      <a:accent6>
        <a:srgbClr val="0098A7"/>
      </a:accent6>
      <a:hlink>
        <a:srgbClr val="F58420"/>
      </a:hlink>
      <a:folHlink>
        <a:srgbClr val="0098A7"/>
      </a:folHlink>
    </a:clrScheme>
    <a:fontScheme name="Carmeus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BD64B89D-F997-46A6-A76E-2666C6DFF948}" vid="{1B80DBF5-1B40-4ABA-BF2B-03637D45458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rmeuse Colors">
      <a:dk1>
        <a:srgbClr val="1689CA"/>
      </a:dk1>
      <a:lt1>
        <a:srgbClr val="005391"/>
      </a:lt1>
      <a:dk2>
        <a:srgbClr val="85D2F5"/>
      </a:dk2>
      <a:lt2>
        <a:srgbClr val="202834"/>
      </a:lt2>
      <a:accent1>
        <a:srgbClr val="9195B0"/>
      </a:accent1>
      <a:accent2>
        <a:srgbClr val="FFFFFF"/>
      </a:accent2>
      <a:accent3>
        <a:srgbClr val="2F9397"/>
      </a:accent3>
      <a:accent4>
        <a:srgbClr val="F6861F"/>
      </a:accent4>
      <a:accent5>
        <a:srgbClr val="1066B1"/>
      </a:accent5>
      <a:accent6>
        <a:srgbClr val="4AB1E4"/>
      </a:accent6>
      <a:hlink>
        <a:srgbClr val="2E3B4C"/>
      </a:hlink>
      <a:folHlink>
        <a:srgbClr val="D5DB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05</TotalTime>
  <Words>1535</Words>
  <Application>Microsoft Office PowerPoint</Application>
  <PresentationFormat>Widescreen</PresentationFormat>
  <Paragraphs>419</Paragraphs>
  <Slides>39</Slides>
  <Notes>7</Notes>
  <HiddenSlides>1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8" baseType="lpstr">
      <vt:lpstr>Arial</vt:lpstr>
      <vt:lpstr>Calibri</vt:lpstr>
      <vt:lpstr>DIN Offc</vt:lpstr>
      <vt:lpstr>DIN Offc Light</vt:lpstr>
      <vt:lpstr>DIN Offc Medium</vt:lpstr>
      <vt:lpstr>Tahoma</vt:lpstr>
      <vt:lpstr>Wingdings</vt:lpstr>
      <vt:lpstr>Master slid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oil improvement with quicklime  Quantification of the carbonation rate  in an embankment  after 34 years</vt:lpstr>
      <vt:lpstr>Facts</vt:lpstr>
      <vt:lpstr>Initial Situation1979</vt:lpstr>
      <vt:lpstr>Drilling site</vt:lpstr>
      <vt:lpstr>Embankment</vt:lpstr>
      <vt:lpstr>Sampling</vt:lpstr>
      <vt:lpstr>Reactions : problem statement</vt:lpstr>
      <vt:lpstr>Reaction quantification (mean values)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nayer Christophe</dc:creator>
  <cp:lastModifiedBy>Barta Tímea</cp:lastModifiedBy>
  <cp:revision>27</cp:revision>
  <dcterms:created xsi:type="dcterms:W3CDTF">2022-11-29T14:28:33Z</dcterms:created>
  <dcterms:modified xsi:type="dcterms:W3CDTF">2022-12-05T11:03:11Z</dcterms:modified>
</cp:coreProperties>
</file>